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59" strictFirstAndLastChars="0" saveSubsetFonts="1">
  <p:sldMasterIdLst>
    <p:sldMasterId id="2147483652" r:id="rId1"/>
  </p:sldMasterIdLst>
  <p:notesMasterIdLst>
    <p:notesMasterId r:id="rId101"/>
  </p:notesMasterIdLst>
  <p:handoutMasterIdLst>
    <p:handoutMasterId r:id="rId102"/>
  </p:handoutMasterIdLst>
  <p:sldIdLst>
    <p:sldId id="1741" r:id="rId2"/>
    <p:sldId id="1737" r:id="rId3"/>
    <p:sldId id="1738" r:id="rId4"/>
    <p:sldId id="1739" r:id="rId5"/>
    <p:sldId id="1740" r:id="rId6"/>
    <p:sldId id="1743" r:id="rId7"/>
    <p:sldId id="1990" r:id="rId8"/>
    <p:sldId id="1360" r:id="rId9"/>
    <p:sldId id="1802" r:id="rId10"/>
    <p:sldId id="1800" r:id="rId11"/>
    <p:sldId id="1803" r:id="rId12"/>
    <p:sldId id="1804" r:id="rId13"/>
    <p:sldId id="1975" r:id="rId14"/>
    <p:sldId id="1807" r:id="rId15"/>
    <p:sldId id="1808" r:id="rId16"/>
    <p:sldId id="1810" r:id="rId17"/>
    <p:sldId id="1811" r:id="rId18"/>
    <p:sldId id="1831" r:id="rId19"/>
    <p:sldId id="1833" r:id="rId20"/>
    <p:sldId id="1834" r:id="rId21"/>
    <p:sldId id="1835" r:id="rId22"/>
    <p:sldId id="1837" r:id="rId23"/>
    <p:sldId id="1838" r:id="rId24"/>
    <p:sldId id="1840" r:id="rId25"/>
    <p:sldId id="1976" r:id="rId26"/>
    <p:sldId id="1843" r:id="rId27"/>
    <p:sldId id="1844" r:id="rId28"/>
    <p:sldId id="1851" r:id="rId29"/>
    <p:sldId id="1845" r:id="rId30"/>
    <p:sldId id="1847" r:id="rId31"/>
    <p:sldId id="1848" r:id="rId32"/>
    <p:sldId id="1849" r:id="rId33"/>
    <p:sldId id="1850" r:id="rId34"/>
    <p:sldId id="1926" r:id="rId35"/>
    <p:sldId id="1964" r:id="rId36"/>
    <p:sldId id="1963" r:id="rId37"/>
    <p:sldId id="1930" r:id="rId38"/>
    <p:sldId id="1932" r:id="rId39"/>
    <p:sldId id="1933" r:id="rId40"/>
    <p:sldId id="1934" r:id="rId41"/>
    <p:sldId id="1965" r:id="rId42"/>
    <p:sldId id="1966" r:id="rId43"/>
    <p:sldId id="1967" r:id="rId44"/>
    <p:sldId id="1968" r:id="rId45"/>
    <p:sldId id="1969" r:id="rId46"/>
    <p:sldId id="1973" r:id="rId47"/>
    <p:sldId id="1971" r:id="rId48"/>
    <p:sldId id="1874" r:id="rId49"/>
    <p:sldId id="1876" r:id="rId50"/>
    <p:sldId id="1877" r:id="rId51"/>
    <p:sldId id="1879" r:id="rId52"/>
    <p:sldId id="1880" r:id="rId53"/>
    <p:sldId id="1974" r:id="rId54"/>
    <p:sldId id="1883" r:id="rId55"/>
    <p:sldId id="1889" r:id="rId56"/>
    <p:sldId id="1884" r:id="rId57"/>
    <p:sldId id="1886" r:id="rId58"/>
    <p:sldId id="1888" r:id="rId59"/>
    <p:sldId id="1887" r:id="rId60"/>
    <p:sldId id="1945" r:id="rId61"/>
    <p:sldId id="1947" r:id="rId62"/>
    <p:sldId id="1948" r:id="rId63"/>
    <p:sldId id="1950" r:id="rId64"/>
    <p:sldId id="1951" r:id="rId65"/>
    <p:sldId id="1977" r:id="rId66"/>
    <p:sldId id="1954" r:id="rId67"/>
    <p:sldId id="1978" r:id="rId68"/>
    <p:sldId id="1957" r:id="rId69"/>
    <p:sldId id="1959" r:id="rId70"/>
    <p:sldId id="1979" r:id="rId71"/>
    <p:sldId id="1962" r:id="rId72"/>
    <p:sldId id="1890" r:id="rId73"/>
    <p:sldId id="1892" r:id="rId74"/>
    <p:sldId id="1980" r:id="rId75"/>
    <p:sldId id="1894" r:id="rId76"/>
    <p:sldId id="1896" r:id="rId77"/>
    <p:sldId id="1981" r:id="rId78"/>
    <p:sldId id="1898" r:id="rId79"/>
    <p:sldId id="1982" r:id="rId80"/>
    <p:sldId id="1901" r:id="rId81"/>
    <p:sldId id="1983" r:id="rId82"/>
    <p:sldId id="1984" r:id="rId83"/>
    <p:sldId id="1903" r:id="rId84"/>
    <p:sldId id="1905" r:id="rId85"/>
    <p:sldId id="1985" r:id="rId86"/>
    <p:sldId id="1986" r:id="rId87"/>
    <p:sldId id="1907" r:id="rId88"/>
    <p:sldId id="1910" r:id="rId89"/>
    <p:sldId id="1912" r:id="rId90"/>
    <p:sldId id="1913" r:id="rId91"/>
    <p:sldId id="1915" r:id="rId92"/>
    <p:sldId id="1916" r:id="rId93"/>
    <p:sldId id="1987" r:id="rId94"/>
    <p:sldId id="1919" r:id="rId95"/>
    <p:sldId id="1988" r:id="rId96"/>
    <p:sldId id="1920" r:id="rId97"/>
    <p:sldId id="1922" r:id="rId98"/>
    <p:sldId id="1989" r:id="rId99"/>
    <p:sldId id="1923" r:id="rId100"/>
  </p:sldIdLst>
  <p:sldSz cx="9144000" cy="6858000" type="letter"/>
  <p:notesSz cx="7010400" cy="9296400"/>
  <p:custDataLst>
    <p:tags r:id="rId103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0" userDrawn="1">
          <p15:clr>
            <a:srgbClr val="A4A3A4"/>
          </p15:clr>
        </p15:guide>
        <p15:guide id="2" orient="horz" pos="4032" userDrawn="1">
          <p15:clr>
            <a:srgbClr val="A4A3A4"/>
          </p15:clr>
        </p15:guide>
        <p15:guide id="6" pos="5688" userDrawn="1">
          <p15:clr>
            <a:srgbClr val="A4A3A4"/>
          </p15:clr>
        </p15:guide>
        <p15:guide id="7" pos="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yreddy, Mithilesh" initials="MM" lastIdx="1" clrIdx="0">
    <p:extLst>
      <p:ext uri="{19B8F6BF-5375-455C-9EA6-DF929625EA0E}">
        <p15:presenceInfo xmlns:p15="http://schemas.microsoft.com/office/powerpoint/2012/main" userId="S-1-5-21-790525478-854245398-839522115-107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D300"/>
    <a:srgbClr val="E47E00"/>
    <a:srgbClr val="FAE600"/>
    <a:srgbClr val="92499E"/>
    <a:srgbClr val="00307E"/>
    <a:srgbClr val="376FA7"/>
    <a:srgbClr val="59A6D5"/>
    <a:srgbClr val="7EB542"/>
    <a:srgbClr val="7A68AE"/>
    <a:srgbClr val="A99B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45" autoAdjust="0"/>
    <p:restoredTop sz="98814" autoAdjust="0"/>
  </p:normalViewPr>
  <p:slideViewPr>
    <p:cSldViewPr snapToGrid="0">
      <p:cViewPr varScale="1">
        <p:scale>
          <a:sx n="72" d="100"/>
          <a:sy n="72" d="100"/>
        </p:scale>
        <p:origin x="1044" y="60"/>
      </p:cViewPr>
      <p:guideLst>
        <p:guide orient="horz" pos="600"/>
        <p:guide orient="horz" pos="4032"/>
        <p:guide pos="5688"/>
        <p:guide pos="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-2934" y="-120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theme" Target="theme/theme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tags" Target="tags/tag1.xml"/><Relationship Id="rId108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microsoft.com/office/2015/10/relationships/revisionInfo" Target="revisionInfo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3796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268" y="4429759"/>
            <a:ext cx="5139868" cy="4203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88464" tIns="43702" rIns="88464" bIns="43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29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12950" y="1312863"/>
            <a:ext cx="2989263" cy="224313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112164182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89025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654050" algn="l" defTabSz="1089025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308100" algn="l" defTabSz="1089025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962150" algn="l" defTabSz="1089025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614613" algn="l" defTabSz="1089025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altLang="en-US" dirty="0"/>
          </a:p>
        </p:txBody>
      </p:sp>
      <p:sp>
        <p:nvSpPr>
          <p:cNvPr id="10138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4908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fld id="{A65FA117-8965-4587-94B7-6B1571DC94AE}" type="slidenum">
              <a:rPr lang="en-US" altLang="en-US"/>
              <a:pPr algn="ctr"/>
              <a:t>60</a:t>
            </a:fld>
            <a:endParaRPr lang="en-US" altLang="en-US" dirty="0"/>
          </a:p>
        </p:txBody>
      </p:sp>
      <p:sp>
        <p:nvSpPr>
          <p:cNvPr id="101381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06163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altLang="en-US" dirty="0"/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4908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fld id="{474D29C2-72CA-47BF-9201-3316D1AF6EB8}" type="slidenum">
              <a:rPr lang="en-US" altLang="en-US"/>
              <a:pPr algn="ctr"/>
              <a:t>61</a:t>
            </a:fld>
            <a:endParaRPr lang="en-US" altLang="en-US" dirty="0"/>
          </a:p>
        </p:txBody>
      </p:sp>
      <p:sp>
        <p:nvSpPr>
          <p:cNvPr id="10240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71863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3427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altLang="en-US" dirty="0"/>
          </a:p>
        </p:txBody>
      </p:sp>
      <p:sp>
        <p:nvSpPr>
          <p:cNvPr id="103428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4908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fld id="{55D2BE2F-8BBB-4C25-A25E-E96757EF08AB}" type="slidenum">
              <a:rPr lang="en-US" altLang="en-US"/>
              <a:pPr algn="ctr"/>
              <a:t>62</a:t>
            </a:fld>
            <a:endParaRPr lang="en-US" altLang="en-US" dirty="0"/>
          </a:p>
        </p:txBody>
      </p:sp>
      <p:sp>
        <p:nvSpPr>
          <p:cNvPr id="103429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40349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4451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altLang="en-US" dirty="0"/>
          </a:p>
        </p:txBody>
      </p:sp>
      <p:sp>
        <p:nvSpPr>
          <p:cNvPr id="104452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4908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fld id="{1159A38E-8C41-4FE9-A3DD-9A7673BFBDA3}" type="slidenum">
              <a:rPr lang="en-US" altLang="en-US"/>
              <a:pPr algn="ctr"/>
              <a:t>63</a:t>
            </a:fld>
            <a:endParaRPr lang="en-US" altLang="en-US" dirty="0"/>
          </a:p>
        </p:txBody>
      </p:sp>
      <p:sp>
        <p:nvSpPr>
          <p:cNvPr id="104453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8549368"/>
            <a:ext cx="2911872" cy="45037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8126" tIns="44063" rIns="88126" bIns="44063"/>
          <a:lstStyle/>
          <a:p>
            <a:pPr algn="ctr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28886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nVert2"/>
          <p:cNvSpPr>
            <a:spLocks noChangeAspect="1" noChangeShapeType="1"/>
          </p:cNvSpPr>
          <p:nvPr/>
        </p:nvSpPr>
        <p:spPr bwMode="white">
          <a:xfrm>
            <a:off x="7315200" y="6475413"/>
            <a:ext cx="0" cy="26035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GB" dirty="0"/>
          </a:p>
        </p:txBody>
      </p:sp>
      <p:pic>
        <p:nvPicPr>
          <p:cNvPr id="5" name="pic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5539" y="530225"/>
            <a:ext cx="83185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bWebAddr"/>
          <p:cNvSpPr txBox="1">
            <a:spLocks noChangeAspect="1" noChangeArrowheads="1"/>
          </p:cNvSpPr>
          <p:nvPr/>
        </p:nvSpPr>
        <p:spPr bwMode="auto">
          <a:xfrm>
            <a:off x="7548693" y="6474361"/>
            <a:ext cx="1168140" cy="184666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>
            <a:spAutoFit/>
          </a:bodyPr>
          <a:lstStyle/>
          <a:p>
            <a:pPr algn="ctr" defTabSz="762000">
              <a:defRPr/>
            </a:pPr>
            <a:r>
              <a:rPr lang="en-GB" sz="1200" dirty="0"/>
              <a:t>www.ricardo.com</a:t>
            </a:r>
            <a:endParaRPr lang="en-GB" sz="900" dirty="0">
              <a:latin typeface="Helvetica" pitchFamily="34" charset="0"/>
            </a:endParaRPr>
          </a:p>
        </p:txBody>
      </p:sp>
      <p:pic>
        <p:nvPicPr>
          <p:cNvPr id="7" name="picDETIT" descr="DVTIand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2725" y="6475413"/>
            <a:ext cx="4410075" cy="17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27" descr="E:\Business\2008\RSC Grafikstandard\colourbar_PANTONE293.jp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735764"/>
            <a:ext cx="9145466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7455877" y="0"/>
            <a:ext cx="0" cy="106045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GB" dirty="0"/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white">
          <a:xfrm>
            <a:off x="7762143" y="6742113"/>
            <a:ext cx="1027234" cy="10795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r" defTabSz="762000">
              <a:lnSpc>
                <a:spcPct val="90000"/>
              </a:lnSpc>
              <a:defRPr/>
            </a:pPr>
            <a:r>
              <a:rPr lang="en-GB" sz="900" b="1" dirty="0">
                <a:solidFill>
                  <a:schemeClr val="bg1"/>
                </a:solidFill>
              </a:rPr>
              <a:t>©</a:t>
            </a:r>
            <a:r>
              <a:rPr lang="en-GB" sz="700" b="1" dirty="0">
                <a:solidFill>
                  <a:schemeClr val="bg1"/>
                </a:solidFill>
              </a:rPr>
              <a:t> </a:t>
            </a:r>
            <a:r>
              <a:rPr lang="en-GB" sz="800" dirty="0">
                <a:solidFill>
                  <a:schemeClr val="bg1"/>
                </a:solidFill>
              </a:rPr>
              <a:t>Ricardo plc 2014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138854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51692" y="2464713"/>
            <a:ext cx="6963508" cy="430887"/>
          </a:xfrm>
        </p:spPr>
        <p:txBody>
          <a:bodyPr anchor="b"/>
          <a:lstStyle>
            <a:lvl1pPr>
              <a:defRPr sz="2800"/>
            </a:lvl1pPr>
          </a:lstStyle>
          <a:p>
            <a:endParaRPr lang="en-US"/>
          </a:p>
        </p:txBody>
      </p:sp>
      <p:sp>
        <p:nvSpPr>
          <p:cNvPr id="138854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51692" y="2971800"/>
            <a:ext cx="6963508" cy="1066800"/>
          </a:xfrm>
          <a:ln/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/>
            </a:lvl1pPr>
          </a:lstStyle>
          <a:p>
            <a:endParaRPr lang="en-US"/>
          </a:p>
        </p:txBody>
      </p:sp>
      <p:sp>
        <p:nvSpPr>
          <p:cNvPr id="15" name="Text Box 15"/>
          <p:cNvSpPr txBox="1">
            <a:spLocks noChangeArrowheads="1"/>
          </p:cNvSpPr>
          <p:nvPr userDrawn="1"/>
        </p:nvSpPr>
        <p:spPr bwMode="white">
          <a:xfrm>
            <a:off x="8792308" y="6742113"/>
            <a:ext cx="243254" cy="107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defTabSz="762000">
              <a:spcBef>
                <a:spcPct val="50000"/>
              </a:spcBef>
              <a:defRPr/>
            </a:pPr>
            <a:fld id="{C907C994-B51F-4AF4-9E64-E2241413583D}" type="slidenum">
              <a:rPr lang="en-GB" sz="800">
                <a:solidFill>
                  <a:schemeClr val="bg1"/>
                </a:solidFill>
              </a:rPr>
              <a:pPr algn="r" defTabSz="762000">
                <a:spcBef>
                  <a:spcPct val="50000"/>
                </a:spcBef>
                <a:defRPr/>
              </a:pPr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484531" y="304800"/>
            <a:ext cx="307777" cy="6292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77" y="304800"/>
            <a:ext cx="6348046" cy="6292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8367346" y="6538914"/>
            <a:ext cx="732692" cy="32067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pPr eaLnBrk="1" hangingPunct="1"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8367346" y="6538914"/>
            <a:ext cx="732692" cy="32067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pPr eaLnBrk="1" hangingPunct="1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538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8367713" y="6538913"/>
            <a:ext cx="731837" cy="32067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pPr eaLnBrk="1" hangingPunct="1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120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8367346" y="6538914"/>
            <a:ext cx="732692" cy="32067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pPr eaLnBrk="1" hangingPunct="1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654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1692" y="1306514"/>
            <a:ext cx="4149969" cy="52911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9" y="1306514"/>
            <a:ext cx="4149969" cy="52911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108CF0-568D-4EE2-82C8-11F4F40E6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338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7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9547"/>
            <a:ext cx="3008435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5059561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60947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693" y="1306514"/>
            <a:ext cx="8440615" cy="52911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1854" y="366713"/>
            <a:ext cx="700454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40677" y="304800"/>
            <a:ext cx="7669823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/>
          </a:p>
        </p:txBody>
      </p:sp>
      <p:pic>
        <p:nvPicPr>
          <p:cNvPr id="5125" name="Picture 127" descr="E:\Business\2008\RSC Grafikstandard\colourbar_PANTONE293.jpg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735764"/>
            <a:ext cx="9145466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87527" name="Line 7"/>
          <p:cNvSpPr>
            <a:spLocks noChangeShapeType="1"/>
          </p:cNvSpPr>
          <p:nvPr/>
        </p:nvSpPr>
        <p:spPr bwMode="auto">
          <a:xfrm>
            <a:off x="7920404" y="0"/>
            <a:ext cx="0" cy="85725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defRPr/>
            </a:pPr>
            <a:endParaRPr lang="en-GB" dirty="0"/>
          </a:p>
        </p:txBody>
      </p:sp>
      <p:sp>
        <p:nvSpPr>
          <p:cNvPr id="1387528" name="Text Box 8"/>
          <p:cNvSpPr txBox="1">
            <a:spLocks noChangeArrowheads="1"/>
          </p:cNvSpPr>
          <p:nvPr/>
        </p:nvSpPr>
        <p:spPr bwMode="white">
          <a:xfrm>
            <a:off x="7762143" y="6742113"/>
            <a:ext cx="1027234" cy="107950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r" defTabSz="762000">
              <a:lnSpc>
                <a:spcPct val="90000"/>
              </a:lnSpc>
              <a:defRPr/>
            </a:pPr>
            <a:r>
              <a:rPr lang="en-GB" sz="900" b="1" dirty="0">
                <a:solidFill>
                  <a:schemeClr val="bg1"/>
                </a:solidFill>
              </a:rPr>
              <a:t>©</a:t>
            </a:r>
            <a:r>
              <a:rPr lang="en-GB" sz="700" b="1" dirty="0">
                <a:solidFill>
                  <a:schemeClr val="bg1"/>
                </a:solidFill>
              </a:rPr>
              <a:t> </a:t>
            </a:r>
            <a:r>
              <a:rPr lang="en-GB" sz="800" dirty="0">
                <a:solidFill>
                  <a:schemeClr val="bg1"/>
                </a:solidFill>
              </a:rPr>
              <a:t>Ricardo plc 2018</a:t>
            </a:r>
            <a:endParaRPr lang="en-GB" sz="800" b="1" dirty="0">
              <a:solidFill>
                <a:schemeClr val="bg1"/>
              </a:solidFill>
            </a:endParaRPr>
          </a:p>
        </p:txBody>
      </p:sp>
      <p:sp>
        <p:nvSpPr>
          <p:cNvPr id="1387535" name="Text Box 15"/>
          <p:cNvSpPr txBox="1">
            <a:spLocks noChangeArrowheads="1"/>
          </p:cNvSpPr>
          <p:nvPr userDrawn="1"/>
        </p:nvSpPr>
        <p:spPr bwMode="white">
          <a:xfrm>
            <a:off x="8792308" y="6742113"/>
            <a:ext cx="243254" cy="107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defTabSz="762000">
              <a:spcBef>
                <a:spcPct val="50000"/>
              </a:spcBef>
              <a:defRPr/>
            </a:pPr>
            <a:fld id="{C907C994-B51F-4AF4-9E64-E2241413583D}" type="slidenum">
              <a:rPr lang="en-GB" sz="800">
                <a:solidFill>
                  <a:schemeClr val="bg1"/>
                </a:solidFill>
              </a:rPr>
              <a:pPr algn="r" defTabSz="762000">
                <a:spcBef>
                  <a:spcPct val="50000"/>
                </a:spcBef>
                <a:defRPr/>
              </a:pPr>
              <a:t>‹#›</a:t>
            </a:fld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0" name="Text Box 8">
            <a:extLst>
              <a:ext uri="{FF2B5EF4-FFF2-40B4-BE49-F238E27FC236}">
                <a16:creationId xmlns:a16="http://schemas.microsoft.com/office/drawing/2014/main" id="{8CEC0B08-3917-4C11-BBAB-B6484DB0A95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230066" y="6735764"/>
            <a:ext cx="1976803" cy="114299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l" defTabSz="762000">
              <a:lnSpc>
                <a:spcPct val="90000"/>
              </a:lnSpc>
              <a:defRPr/>
            </a:pPr>
            <a:r>
              <a:rPr lang="en-GB" sz="900" b="0" dirty="0">
                <a:solidFill>
                  <a:schemeClr val="bg1"/>
                </a:solidFill>
              </a:rPr>
              <a:t>Contract no. DTNH2216D00037/0001</a:t>
            </a:r>
            <a:endParaRPr lang="en-GB" sz="800" b="0" dirty="0">
              <a:solidFill>
                <a:schemeClr val="bg1"/>
              </a:solidFill>
            </a:endParaRPr>
          </a:p>
        </p:txBody>
      </p:sp>
      <p:sp>
        <p:nvSpPr>
          <p:cNvPr id="11" name="Text Box 8">
            <a:extLst>
              <a:ext uri="{FF2B5EF4-FFF2-40B4-BE49-F238E27FC236}">
                <a16:creationId xmlns:a16="http://schemas.microsoft.com/office/drawing/2014/main" id="{F306F5E3-EBCD-4E78-BC58-5662404D4E73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3927721" y="6743703"/>
            <a:ext cx="891930" cy="114298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l" defTabSz="762000">
              <a:lnSpc>
                <a:spcPct val="90000"/>
              </a:lnSpc>
              <a:defRPr/>
            </a:pPr>
            <a:r>
              <a:rPr lang="en-GB" sz="900" b="0" dirty="0">
                <a:solidFill>
                  <a:schemeClr val="bg1"/>
                </a:solidFill>
              </a:rPr>
              <a:t>March 23, 2018</a:t>
            </a:r>
            <a:endParaRPr lang="en-GB" sz="800" b="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60" r:id="rId7"/>
    <p:sldLayoutId id="2147483861" r:id="rId8"/>
    <p:sldLayoutId id="2147483862" r:id="rId9"/>
    <p:sldLayoutId id="2147483863" r:id="rId10"/>
    <p:sldLayoutId id="2147483870" r:id="rId11"/>
    <p:sldLayoutId id="2147483871" r:id="rId12"/>
    <p:sldLayoutId id="2147483872" r:id="rId13"/>
    <p:sldLayoutId id="2147483873" r:id="rId14"/>
  </p:sldLayoutIdLst>
  <p:txStyles>
    <p:titleStyle>
      <a:lvl1pPr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2pPr>
      <a:lvl3pPr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3pPr>
      <a:lvl4pPr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4pPr>
      <a:lvl5pPr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5pPr>
      <a:lvl6pPr marL="457200"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6pPr>
      <a:lvl7pPr marL="914400"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7pPr>
      <a:lvl8pPr marL="1371600"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8pPr>
      <a:lvl9pPr marL="1828800" algn="l" defTabSz="36195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Arial" charset="0"/>
        </a:defRPr>
      </a:lvl9pPr>
    </p:titleStyle>
    <p:bodyStyle>
      <a:lvl1pPr marL="273050" indent="-273050" algn="l" defTabSz="457200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4513" indent="-269875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–"/>
        <a:defRPr>
          <a:solidFill>
            <a:schemeClr val="tx1"/>
          </a:solidFill>
          <a:latin typeface="+mn-lt"/>
        </a:defRPr>
      </a:lvl2pPr>
      <a:lvl3pPr marL="809625" indent="-263525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3pPr>
      <a:lvl4pPr marL="1090613" indent="-279400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–"/>
        <a:defRPr>
          <a:solidFill>
            <a:schemeClr val="tx1"/>
          </a:solidFill>
          <a:latin typeface="+mn-lt"/>
        </a:defRPr>
      </a:lvl4pPr>
      <a:lvl5pPr marL="1360488" indent="-268288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5pPr>
      <a:lvl6pPr marL="1817688" indent="-268288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6pPr>
      <a:lvl7pPr marL="2274888" indent="-268288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7pPr>
      <a:lvl8pPr marL="2732088" indent="-268288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8pPr>
      <a:lvl9pPr marL="3189288" indent="-268288" algn="l" defTabSz="457200" rtl="0" eaLnBrk="0" fontAlgn="base" hangingPunct="0">
        <a:spcBef>
          <a:spcPct val="25000"/>
        </a:spcBef>
        <a:spcAft>
          <a:spcPct val="0"/>
        </a:spcAft>
        <a:buClr>
          <a:schemeClr val="accent2"/>
        </a:buClr>
        <a:buSzPct val="10000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12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5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5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14.xml"/><Relationship Id="rId7" Type="http://schemas.microsoft.com/office/2007/relationships/hdphoto" Target="../media/hdphoto1.wdp"/><Relationship Id="rId12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Relationship Id="rId14" Type="http://schemas.openxmlformats.org/officeDocument/2006/relationships/image" Target="../media/image13.emf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6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6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7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7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7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7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7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7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8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8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8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8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8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8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8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8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8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9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9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6547" name="Rectangle 3"/>
          <p:cNvSpPr>
            <a:spLocks noGrp="1" noChangeArrowheads="1"/>
          </p:cNvSpPr>
          <p:nvPr>
            <p:ph type="title"/>
          </p:nvPr>
        </p:nvSpPr>
        <p:spPr>
          <a:xfrm>
            <a:off x="140677" y="304800"/>
            <a:ext cx="7669823" cy="304800"/>
          </a:xfrm>
        </p:spPr>
        <p:txBody>
          <a:bodyPr/>
          <a:lstStyle/>
          <a:p>
            <a:r>
              <a:rPr lang="en-GB" dirty="0"/>
              <a:t>APPENDIX</a:t>
            </a:r>
          </a:p>
        </p:txBody>
      </p:sp>
      <p:sp>
        <p:nvSpPr>
          <p:cNvPr id="215654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398588" y="1092395"/>
            <a:ext cx="7299325" cy="5443872"/>
          </a:xfrm>
        </p:spPr>
        <p:txBody>
          <a:bodyPr tIns="90000"/>
          <a:lstStyle/>
          <a:p>
            <a:r>
              <a:rPr lang="en-GB" sz="1400" b="1" dirty="0"/>
              <a:t>Cost &amp; Weight Analysis Approach Described</a:t>
            </a:r>
          </a:p>
          <a:p>
            <a:pPr lvl="1"/>
            <a:r>
              <a:rPr lang="en-GB" sz="1400" b="1" dirty="0">
                <a:ea typeface="+mn-ea"/>
                <a:cs typeface="+mn-cs"/>
              </a:rPr>
              <a:t>Inputs and Process</a:t>
            </a:r>
          </a:p>
          <a:p>
            <a:pPr lvl="1"/>
            <a:r>
              <a:rPr lang="en-GB" sz="1400" b="1" dirty="0">
                <a:ea typeface="+mn-ea"/>
                <a:cs typeface="+mn-cs"/>
              </a:rPr>
              <a:t>Distribution of Costs</a:t>
            </a:r>
          </a:p>
          <a:p>
            <a:pPr lvl="1"/>
            <a:r>
              <a:rPr lang="en-GB" sz="1400" b="1" dirty="0">
                <a:ea typeface="+mn-ea"/>
                <a:cs typeface="+mn-cs"/>
              </a:rPr>
              <a:t>Definitions &amp; Assumptions</a:t>
            </a:r>
          </a:p>
          <a:p>
            <a:pPr lvl="1"/>
            <a:r>
              <a:rPr lang="en-GB" sz="1400" b="1" dirty="0">
                <a:ea typeface="+mn-ea"/>
                <a:cs typeface="+mn-cs"/>
              </a:rPr>
              <a:t>Example Cost Breakdown</a:t>
            </a:r>
          </a:p>
          <a:p>
            <a:r>
              <a:rPr lang="en-US" sz="1400" b="1" dirty="0"/>
              <a:t>Manufacturing Cost Details</a:t>
            </a:r>
            <a:endParaRPr lang="en-GB" sz="1400" b="1" dirty="0"/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Dodge Ram Extended Cab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7 &amp; MY 2010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Ford Edge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9 &amp; MY 2016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Honda Accord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10 &amp; MY 2014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Ford Mustang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6 &amp; MY 2016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Jeep Grand Cherokee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8 &amp; MY 2011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Buick LaCrosse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5 &amp; MY 2010</a:t>
            </a:r>
          </a:p>
          <a:p>
            <a:pPr marL="617538" lvl="1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Chevrolet Impala</a:t>
            </a:r>
          </a:p>
          <a:p>
            <a:pPr marL="882650" lvl="2" indent="-3429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3 &amp; MY 2011</a:t>
            </a:r>
          </a:p>
          <a:p>
            <a:pPr lvl="1"/>
            <a:endParaRPr lang="en-GB" b="1" dirty="0"/>
          </a:p>
          <a:p>
            <a:pPr marL="0" indent="0">
              <a:buNone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8509811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07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A6C0EC1-AC08-4437-8288-18E722511E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35990"/>
            <a:ext cx="8439150" cy="2632183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Ram Extended Cab, 200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31FDFF-85D6-48DC-8C8B-AFD1B171789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3943678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07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A5206E8-98AA-48F3-B373-AD9AB74676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32781"/>
            <a:ext cx="8439150" cy="383860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Ram Extended Cab, 200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699E92-9474-4501-BE29-D2BB0A3444EE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6519523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07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5515555-CCEF-4DE7-ABA3-640283B864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702371"/>
            <a:ext cx="8439150" cy="249942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Ram Extended Cab, 200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617825A-94A4-459C-857F-E445E9C4FBDE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4208425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Ram Extended Cab, MY 2010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521997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A46B639-A1FE-4F7C-B185-396050D725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71849"/>
            <a:ext cx="8439150" cy="516046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Ram Extended Cab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BE3494-0896-4DB8-B6B0-6161EDDDC1DF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8207329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8FA727D-7968-46DA-B8FB-50CC121C77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402210"/>
            <a:ext cx="8439150" cy="3099742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Ram Extended Cab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F0D7DE-815C-499A-92CE-3CBA8FC3327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9698542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1F3A34B-596F-4172-A0D8-3812DB4159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68314"/>
            <a:ext cx="8439150" cy="516753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Ram Extended Cab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6665149-0E6F-46EF-A70A-5DE5DDCA976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6508580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63D5AB9-6BF0-43F9-8337-7E6E8D608A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576384"/>
            <a:ext cx="8439150" cy="275139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Ram Extended Cab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03A13F-5222-467B-9ABB-011F892D7B7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8176070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Ford Edge, MY 2009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28692093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2014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1A8A457-A44B-4D2D-A5E9-22E5A1E0E0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920220"/>
            <a:ext cx="8439150" cy="4063722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2B4980-D24B-4CEB-B9A3-E0ADFBC8E016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945188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057590" y="4779094"/>
            <a:ext cx="1017585" cy="2279804"/>
          </a:xfrm>
          <a:prstGeom prst="homePlate">
            <a:avLst>
              <a:gd name="adj" fmla="val 31763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 Cost of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Inbound Freight</a:t>
            </a:r>
          </a:p>
        </p:txBody>
      </p:sp>
      <p:grpSp>
        <p:nvGrpSpPr>
          <p:cNvPr id="10245" name="Group 48"/>
          <p:cNvGrpSpPr>
            <a:grpSpLocks/>
          </p:cNvGrpSpPr>
          <p:nvPr/>
        </p:nvGrpSpPr>
        <p:grpSpPr bwMode="auto">
          <a:xfrm>
            <a:off x="372268" y="4467225"/>
            <a:ext cx="2281238" cy="1960563"/>
            <a:chOff x="200724" y="4571570"/>
            <a:chExt cx="2469788" cy="1856820"/>
          </a:xfrm>
        </p:grpSpPr>
        <p:sp>
          <p:nvSpPr>
            <p:cNvPr id="27" name="Rectangle 6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5400000">
              <a:off x="507208" y="4265086"/>
              <a:ext cx="1856820" cy="2469787"/>
            </a:xfrm>
            <a:prstGeom prst="homePlate">
              <a:avLst>
                <a:gd name="adj" fmla="val 9743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vert270" wrap="none" tIns="91440" bIns="91440" anchor="ctr"/>
            <a:lstStyle/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Component Packag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Component Volum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Component Function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Layer Count</a:t>
              </a:r>
            </a:p>
          </p:txBody>
        </p:sp>
        <p:sp>
          <p:nvSpPr>
            <p:cNvPr id="28" name="Text Box 7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00724" y="4635644"/>
              <a:ext cx="2469788" cy="3884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dirty="0">
                  <a:latin typeface="+mj-lt"/>
                  <a:cs typeface="Arial" charset="0"/>
                </a:rPr>
                <a:t>Research Other Component Characteristics</a:t>
              </a:r>
            </a:p>
          </p:txBody>
        </p:sp>
      </p:grpSp>
      <p:sp>
        <p:nvSpPr>
          <p:cNvPr id="29" name="Oval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7181921" y="4012180"/>
            <a:ext cx="1005840" cy="2194560"/>
          </a:xfrm>
          <a:prstGeom prst="homePlate">
            <a:avLst>
              <a:gd name="adj" fmla="val 31682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Apply Retail Price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Equivalent (RPE) factor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to get end-user costs</a:t>
            </a:r>
          </a:p>
          <a:p>
            <a:pPr algn="ctr">
              <a:defRPr/>
            </a:pP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pSp>
        <p:nvGrpSpPr>
          <p:cNvPr id="10247" name="Group 50"/>
          <p:cNvGrpSpPr>
            <a:grpSpLocks/>
          </p:cNvGrpSpPr>
          <p:nvPr/>
        </p:nvGrpSpPr>
        <p:grpSpPr bwMode="auto">
          <a:xfrm>
            <a:off x="372268" y="2130425"/>
            <a:ext cx="2281238" cy="2424907"/>
            <a:chOff x="200725" y="2148948"/>
            <a:chExt cx="2469786" cy="1946805"/>
          </a:xfrm>
        </p:grpSpPr>
        <p:sp>
          <p:nvSpPr>
            <p:cNvPr id="30" name="Rectangle 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5400000">
              <a:off x="462215" y="1887458"/>
              <a:ext cx="1946805" cy="2469786"/>
            </a:xfrm>
            <a:prstGeom prst="homePlate">
              <a:avLst>
                <a:gd name="adj" fmla="val 15408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vert270" wrap="none" tIns="91440" bIns="91440" anchor="ctr"/>
            <a:lstStyle/>
            <a:p>
              <a:pPr marL="173038" indent="-173038">
                <a:buFont typeface="Wingdings" pitchFamily="2" charset="2"/>
                <a:buChar char="ü"/>
                <a:defRPr/>
              </a:pPr>
              <a:endParaRPr lang="en-US" sz="1050" dirty="0">
                <a:latin typeface="+mj-lt"/>
                <a:cs typeface="Arial" charset="0"/>
              </a:endParaRPr>
            </a:p>
            <a:p>
              <a:pPr marL="173038" indent="-173038">
                <a:buFont typeface="Wingdings" pitchFamily="2" charset="2"/>
                <a:buChar char="ü"/>
                <a:defRPr/>
              </a:pPr>
              <a:endParaRPr lang="en-US" sz="1050" dirty="0">
                <a:latin typeface="+mj-lt"/>
                <a:cs typeface="Arial" charset="0"/>
              </a:endParaRP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Component Specifications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Materials Used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Process Flow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Process Typ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Test Requirements</a:t>
              </a:r>
            </a:p>
          </p:txBody>
        </p:sp>
        <p:sp>
          <p:nvSpPr>
            <p:cNvPr id="31" name="Text Box 5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0725" y="2184788"/>
              <a:ext cx="2469786" cy="5849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dirty="0">
                  <a:latin typeface="+mj-lt"/>
                  <a:cs typeface="Arial" charset="0"/>
                </a:rPr>
                <a:t>Obtain and Teardown Service Parts to Record </a:t>
              </a:r>
              <a:br>
                <a:rPr lang="en-US" sz="1200" b="1" dirty="0">
                  <a:latin typeface="+mj-lt"/>
                  <a:cs typeface="Arial" charset="0"/>
                </a:rPr>
              </a:br>
              <a:r>
                <a:rPr lang="en-US" sz="1200" b="1" dirty="0">
                  <a:latin typeface="+mj-lt"/>
                  <a:cs typeface="Arial" charset="0"/>
                </a:rPr>
                <a:t>Parametric Data</a:t>
              </a:r>
            </a:p>
          </p:txBody>
        </p:sp>
      </p:grpSp>
      <p:grpSp>
        <p:nvGrpSpPr>
          <p:cNvPr id="10248" name="Group 49"/>
          <p:cNvGrpSpPr>
            <a:grpSpLocks/>
          </p:cNvGrpSpPr>
          <p:nvPr/>
        </p:nvGrpSpPr>
        <p:grpSpPr bwMode="auto">
          <a:xfrm>
            <a:off x="349250" y="944563"/>
            <a:ext cx="2327275" cy="1246187"/>
            <a:chOff x="200725" y="955780"/>
            <a:chExt cx="2519886" cy="1246185"/>
          </a:xfrm>
        </p:grpSpPr>
        <p:sp>
          <p:nvSpPr>
            <p:cNvPr id="32" name="Rectangle 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824525" y="343980"/>
              <a:ext cx="1246185" cy="2469786"/>
            </a:xfrm>
            <a:prstGeom prst="homePlate">
              <a:avLst>
                <a:gd name="adj" fmla="val 25098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vert270" wrap="none" tIns="91440" bIns="91440" anchor="ctr"/>
            <a:lstStyle/>
            <a:p>
              <a:pPr marL="173038" indent="-173038">
                <a:buFont typeface="Wingdings" pitchFamily="2" charset="2"/>
                <a:buChar char="ü"/>
                <a:defRPr/>
              </a:pPr>
              <a:endParaRPr lang="en-US" sz="1050" dirty="0">
                <a:latin typeface="+mj-lt"/>
                <a:cs typeface="Arial" charset="0"/>
              </a:endParaRP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Production Volumes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BOM Boundaries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Country of Manufacture</a:t>
              </a:r>
            </a:p>
          </p:txBody>
        </p:sp>
        <p:sp>
          <p:nvSpPr>
            <p:cNvPr id="33" name="Text Box 5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0725" y="982767"/>
              <a:ext cx="2519886" cy="277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dirty="0">
                  <a:latin typeface="+mj-lt"/>
                  <a:cs typeface="Arial" charset="0"/>
                </a:rPr>
                <a:t>Set Project </a:t>
              </a:r>
              <a:r>
                <a:rPr lang="en-US" sz="1200" b="1" dirty="0">
                  <a:latin typeface="Century Gothic" pitchFamily="34" charset="0"/>
                  <a:cs typeface="Arial" charset="0"/>
                </a:rPr>
                <a:t>Parameters</a:t>
              </a:r>
            </a:p>
          </p:txBody>
        </p:sp>
      </p:grpSp>
      <p:sp>
        <p:nvSpPr>
          <p:cNvPr id="34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4082805" y="3899008"/>
            <a:ext cx="967154" cy="2279802"/>
          </a:xfrm>
          <a:prstGeom prst="homePlate">
            <a:avLst>
              <a:gd name="adj" fmla="val 31763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 Cost of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aterials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 Purchased</a:t>
            </a:r>
          </a:p>
        </p:txBody>
      </p:sp>
      <p:grpSp>
        <p:nvGrpSpPr>
          <p:cNvPr id="10250" name="Group 47"/>
          <p:cNvGrpSpPr>
            <a:grpSpLocks/>
          </p:cNvGrpSpPr>
          <p:nvPr/>
        </p:nvGrpSpPr>
        <p:grpSpPr bwMode="auto">
          <a:xfrm>
            <a:off x="3426557" y="2829793"/>
            <a:ext cx="2279650" cy="1776747"/>
            <a:chOff x="3263284" y="3147454"/>
            <a:chExt cx="2469789" cy="1418429"/>
          </a:xfrm>
        </p:grpSpPr>
        <p:sp>
          <p:nvSpPr>
            <p:cNvPr id="35" name="Rectangle 10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3788964" y="2621775"/>
              <a:ext cx="1418429" cy="2469788"/>
            </a:xfrm>
            <a:prstGeom prst="homePlate">
              <a:avLst>
                <a:gd name="adj" fmla="val 14864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vert270" wrap="none" tIns="91440" bIns="91440" anchor="ctr"/>
            <a:lstStyle/>
            <a:p>
              <a:pPr marL="173038" indent="-173038">
                <a:buFont typeface="Wingdings" pitchFamily="2" charset="2"/>
                <a:buChar char="ü"/>
                <a:defRPr/>
              </a:pPr>
              <a:endParaRPr lang="en-US" sz="1050" dirty="0">
                <a:latin typeface="+mj-lt"/>
                <a:cs typeface="Arial" charset="0"/>
              </a:endParaRP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Country of Mfg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Labor Rates: Direct &amp; Indirect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Number of Heads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Utility Rates/Insuranc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Taxes/Burden</a:t>
              </a:r>
            </a:p>
          </p:txBody>
        </p:sp>
        <p:sp>
          <p:nvSpPr>
            <p:cNvPr id="36" name="Text Box 11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263284" y="3176045"/>
              <a:ext cx="2469789" cy="2763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dirty="0">
                  <a:latin typeface="+mj-lt"/>
                  <a:cs typeface="Arial" charset="0"/>
                </a:rPr>
                <a:t>Research Financial Data</a:t>
              </a:r>
            </a:p>
          </p:txBody>
        </p:sp>
      </p:grpSp>
      <p:sp>
        <p:nvSpPr>
          <p:cNvPr id="39" name="Oval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181920" y="3118773"/>
            <a:ext cx="1005840" cy="2194560"/>
          </a:xfrm>
          <a:prstGeom prst="homePlate">
            <a:avLst>
              <a:gd name="adj" fmla="val 27841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 2017CY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anufacturing  Based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elling Price to OEM</a:t>
            </a:r>
          </a:p>
        </p:txBody>
      </p:sp>
      <p:sp>
        <p:nvSpPr>
          <p:cNvPr id="40" name="Oval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181922" y="2199691"/>
            <a:ext cx="1005840" cy="2194560"/>
          </a:xfrm>
          <a:prstGeom prst="homePlate">
            <a:avLst>
              <a:gd name="adj" fmla="val 22957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G&amp;A + Profit</a:t>
            </a:r>
          </a:p>
        </p:txBody>
      </p:sp>
      <p:sp>
        <p:nvSpPr>
          <p:cNvPr id="41" name="Oval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7181922" y="1292061"/>
            <a:ext cx="1005840" cy="2194560"/>
          </a:xfrm>
          <a:prstGeom prst="homePlate">
            <a:avLst>
              <a:gd name="adj" fmla="val 30360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 Manufacturing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Scrap</a:t>
            </a:r>
          </a:p>
        </p:txBody>
      </p:sp>
      <p:sp>
        <p:nvSpPr>
          <p:cNvPr id="10255" name="Explosion 2 43"/>
          <p:cNvSpPr>
            <a:spLocks noChangeArrowheads="1"/>
          </p:cNvSpPr>
          <p:nvPr/>
        </p:nvSpPr>
        <p:spPr bwMode="auto">
          <a:xfrm>
            <a:off x="6479134" y="5647469"/>
            <a:ext cx="2411412" cy="657225"/>
          </a:xfrm>
          <a:prstGeom prst="irregularSeal2">
            <a:avLst/>
          </a:prstGeom>
          <a:solidFill>
            <a:srgbClr val="006BB7"/>
          </a:solidFill>
          <a:ln w="6350" algn="ctr">
            <a:solidFill>
              <a:schemeClr val="accent2"/>
            </a:solidFill>
            <a:round/>
            <a:headEnd/>
            <a:tailEnd/>
          </a:ln>
        </p:spPr>
        <p:txBody>
          <a:bodyPr wrap="none" lIns="72000" tIns="72000" rIns="72000" bIns="72000" anchor="ctr"/>
          <a:lstStyle/>
          <a:p>
            <a:pPr algn="ctr" defTabSz="762000"/>
            <a:r>
              <a:rPr lang="en-US" altLang="en-US" b="1" i="1" dirty="0">
                <a:solidFill>
                  <a:schemeClr val="bg1"/>
                </a:solidFill>
              </a:rPr>
              <a:t>Complete</a:t>
            </a: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>
          <a:xfrm>
            <a:off x="141288" y="304800"/>
            <a:ext cx="7669212" cy="304800"/>
          </a:xfrm>
          <a:prstGeom prst="rect">
            <a:avLst/>
          </a:prstGeom>
        </p:spPr>
        <p:txBody>
          <a:bodyPr/>
          <a:lstStyle/>
          <a:p>
            <a:pPr defTabSz="768350">
              <a:defRPr/>
            </a:pPr>
            <a:r>
              <a:rPr lang="en-GB" sz="20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st Analysis Inputs and Process</a:t>
            </a:r>
          </a:p>
        </p:txBody>
      </p:sp>
      <p:grpSp>
        <p:nvGrpSpPr>
          <p:cNvPr id="10257" name="Group 46"/>
          <p:cNvGrpSpPr>
            <a:grpSpLocks/>
          </p:cNvGrpSpPr>
          <p:nvPr/>
        </p:nvGrpSpPr>
        <p:grpSpPr bwMode="auto">
          <a:xfrm>
            <a:off x="3426557" y="944562"/>
            <a:ext cx="2279651" cy="1960563"/>
            <a:chOff x="3111675" y="944723"/>
            <a:chExt cx="2469789" cy="2261575"/>
          </a:xfrm>
        </p:grpSpPr>
        <p:sp>
          <p:nvSpPr>
            <p:cNvPr id="37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3215782" y="840617"/>
              <a:ext cx="2261575" cy="2469788"/>
            </a:xfrm>
            <a:prstGeom prst="homePlate">
              <a:avLst>
                <a:gd name="adj" fmla="val 14593"/>
              </a:avLst>
            </a:pr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vert270" wrap="none" tIns="91440" bIns="91440" anchor="ctr"/>
            <a:lstStyle/>
            <a:p>
              <a:pPr marL="173038" indent="-173038">
                <a:buFont typeface="Wingdings" pitchFamily="2" charset="2"/>
                <a:buChar char="ü"/>
                <a:defRPr/>
              </a:pPr>
              <a:endParaRPr lang="en-US" sz="1050" dirty="0">
                <a:latin typeface="+mj-lt"/>
                <a:cs typeface="Arial" charset="0"/>
              </a:endParaRP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Surface Mount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Through Hol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Cycle Time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Single-Sided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Double-Sided</a:t>
              </a:r>
            </a:p>
            <a:p>
              <a:pPr marL="173038" indent="-173038">
                <a:buFont typeface="Wingdings" pitchFamily="2" charset="2"/>
                <a:buChar char="ü"/>
                <a:defRPr/>
              </a:pPr>
              <a:r>
                <a:rPr lang="en-US" sz="1050" dirty="0">
                  <a:latin typeface="+mj-lt"/>
                  <a:cs typeface="Arial" charset="0"/>
                </a:rPr>
                <a:t> Process Equipment</a:t>
              </a:r>
            </a:p>
            <a:p>
              <a:pPr>
                <a:defRPr/>
              </a:pPr>
              <a:endParaRPr lang="en-US" sz="1050" dirty="0">
                <a:latin typeface="+mj-lt"/>
                <a:cs typeface="Arial" charset="0"/>
              </a:endParaRPr>
            </a:p>
          </p:txBody>
        </p:sp>
        <p:sp>
          <p:nvSpPr>
            <p:cNvPr id="38" name="Text Box 9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11675" y="983470"/>
              <a:ext cx="2469788" cy="354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dirty="0">
                  <a:latin typeface="+mj-lt"/>
                  <a:cs typeface="Arial" charset="0"/>
                </a:rPr>
                <a:t>Research Processing Data</a:t>
              </a:r>
            </a:p>
          </p:txBody>
        </p:sp>
      </p:grpSp>
      <p:cxnSp>
        <p:nvCxnSpPr>
          <p:cNvPr id="10258" name="Shape 41"/>
          <p:cNvCxnSpPr>
            <a:cxnSpLocks noChangeShapeType="1"/>
            <a:stCxn id="27" idx="3"/>
            <a:endCxn id="38" idx="0"/>
          </p:cNvCxnSpPr>
          <p:nvPr/>
        </p:nvCxnSpPr>
        <p:spPr bwMode="auto">
          <a:xfrm rot="5400000" flipH="1" flipV="1">
            <a:off x="314816" y="2176222"/>
            <a:ext cx="5449635" cy="3053495"/>
          </a:xfrm>
          <a:prstGeom prst="bentConnector5">
            <a:avLst>
              <a:gd name="adj1" fmla="val -4195"/>
              <a:gd name="adj2" fmla="val 47388"/>
              <a:gd name="adj3" fmla="val 104195"/>
            </a:avLst>
          </a:prstGeom>
          <a:noFill/>
          <a:ln w="28575" algn="ctr">
            <a:solidFill>
              <a:schemeClr val="accent2"/>
            </a:solidFill>
            <a:round/>
            <a:headEnd/>
            <a:tailEnd type="arrow" w="med" len="med"/>
          </a:ln>
        </p:spPr>
      </p:cxnSp>
      <p:sp>
        <p:nvSpPr>
          <p:cNvPr id="10259" name="Rectangle 11"/>
          <p:cNvSpPr>
            <a:spLocks noChangeArrowheads="1"/>
          </p:cNvSpPr>
          <p:nvPr/>
        </p:nvSpPr>
        <p:spPr bwMode="auto">
          <a:xfrm>
            <a:off x="152400" y="84138"/>
            <a:ext cx="2039938" cy="1539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US" altLang="en-US" sz="1000" dirty="0">
                <a:solidFill>
                  <a:schemeClr val="accent2"/>
                </a:solidFill>
              </a:rPr>
              <a:t>Cost Methodology and Assumptions</a:t>
            </a:r>
          </a:p>
        </p:txBody>
      </p:sp>
      <p:sp>
        <p:nvSpPr>
          <p:cNvPr id="44" name="Oval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181922" y="378942"/>
            <a:ext cx="1005840" cy="2194560"/>
          </a:xfrm>
          <a:prstGeom prst="homePlate">
            <a:avLst>
              <a:gd name="adj" fmla="val 30360"/>
            </a:avLst>
          </a:prstGeom>
          <a:solidFill>
            <a:schemeClr val="accent3">
              <a:lumMod val="8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vert270" wrap="none" anchor="ctr"/>
          <a:lstStyle/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alculate Total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Manufacturing </a:t>
            </a:r>
          </a:p>
          <a:p>
            <a:pPr algn="ctr">
              <a:defRPr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</a:rPr>
              <a:t>Cost</a:t>
            </a:r>
          </a:p>
        </p:txBody>
      </p:sp>
      <p:cxnSp>
        <p:nvCxnSpPr>
          <p:cNvPr id="42" name="Shape 41"/>
          <p:cNvCxnSpPr>
            <a:cxnSpLocks noChangeShapeType="1"/>
            <a:stCxn id="22" idx="3"/>
            <a:endCxn id="44" idx="1"/>
          </p:cNvCxnSpPr>
          <p:nvPr/>
        </p:nvCxnSpPr>
        <p:spPr bwMode="auto">
          <a:xfrm rot="5400000" flipH="1" flipV="1">
            <a:off x="3398368" y="2141316"/>
            <a:ext cx="5454487" cy="3118459"/>
          </a:xfrm>
          <a:prstGeom prst="bentConnector5">
            <a:avLst>
              <a:gd name="adj1" fmla="val -4191"/>
              <a:gd name="adj2" fmla="val 50094"/>
              <a:gd name="adj3" fmla="val 104191"/>
            </a:avLst>
          </a:prstGeom>
          <a:noFill/>
          <a:ln w="28575" algn="ctr">
            <a:solidFill>
              <a:schemeClr val="accent2"/>
            </a:solidFill>
            <a:round/>
            <a:headEnd/>
            <a:tailEnd type="arrow" w="med" len="med"/>
          </a:ln>
        </p:spPr>
      </p:cxnSp>
    </p:spTree>
    <p:extLst>
      <p:ext uri="{BB962C8B-B14F-4D97-AF65-F5344CB8AC3E}">
        <p14:creationId xmlns:p14="http://schemas.microsoft.com/office/powerpoint/2010/main" val="13231244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0BA58D4-2886-4896-A1C3-005C3ACC76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25831"/>
            <a:ext cx="8439150" cy="465250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4A6DDE-01A9-44C0-8D6C-B38BFA27CD5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837482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87BF7AC-BCD1-4328-8311-DB58B35F40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24122"/>
            <a:ext cx="8439150" cy="3855918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13A7C0-2F02-42DE-873F-03E94814AFD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236769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B482B80-4D35-471B-88B9-8FB0E03A62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914448"/>
            <a:ext cx="8439150" cy="407526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245F68-0437-41D5-95EC-71F468C0B622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8267165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5710C95-AF43-4780-89CB-2D98D0A79A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79814"/>
            <a:ext cx="8439150" cy="414453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CC5DF1-90D7-4784-A63C-D3011F1F6F53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5412428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09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60CCCDB-0927-4A27-90EB-121B82C27B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125138"/>
            <a:ext cx="8439150" cy="365388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0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6B2D39-B1AE-47C6-999D-63E8AF0192B3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5654454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Ford Edge, MY 2016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30490352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3)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4668816B-B81F-4487-B7FB-07E7D722E9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77621"/>
            <a:ext cx="8439150" cy="514892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C1ACA3-3DAE-4D0F-BC27-F645DEAD675E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1571219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3)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96E7FB0-2A79-4839-9022-CB6936835CC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71849"/>
            <a:ext cx="8439150" cy="516046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1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5A853DF-6061-42FE-89E3-82BE4F86ED6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8825614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3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DAFA25A-702D-48F2-BE5F-EA74600B77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71849"/>
            <a:ext cx="8439150" cy="516046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C6D715-7DF5-461A-89B4-E2D48151A9E3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5054455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2D26906-A40D-4AF7-9C8D-0459794281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71156"/>
            <a:ext cx="8439150" cy="4161851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E8534B-46D0-4232-8047-79C0BB66A150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438030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50825" y="1089025"/>
          <a:ext cx="8534400" cy="53403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4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982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Fixed Costs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Capital Equipment Amortization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Capital Equipment Installation Amortization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Interest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Floor Space Including Manufacturing Area and Offices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Taxes - Local and Property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Insurance - Personal Property and Liability</a:t>
                      </a:r>
                    </a:p>
                  </a:txBody>
                  <a:tcPr marL="182880" marR="9525" marT="9525" marB="91426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297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Variable Costs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Indirect Plant Staff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Material  Handlers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1st Line Supervisors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Tool Maintenance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Facility Maintenance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Non Production Plant Supplies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Energy - Electricity, Natural Gas, Water, Compressed Air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In Process Scrap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Process Gasses (Nitrogen, Argon, etc)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  <a:tabLst>
                          <a:tab pos="406400" algn="l"/>
                        </a:tabLst>
                      </a:pPr>
                      <a:r>
                        <a:rPr lang="en-US" sz="1200" dirty="0">
                          <a:cs typeface="Arial" pitchFamily="34" charset="0"/>
                        </a:rPr>
                        <a:t> Fringe on Direct</a:t>
                      </a:r>
                    </a:p>
                  </a:txBody>
                  <a:tcPr marL="182880" marR="9525" marT="9525" marB="91426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82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G&amp;A Costs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Top Plant Management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 Supplier Quality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 HR Related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 Divisional / HQ Cost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 Research and Development</a:t>
                      </a:r>
                    </a:p>
                    <a:p>
                      <a:pPr marL="406400" lvl="0" indent="-177800" algn="l">
                        <a:buClr>
                          <a:schemeClr val="bg1">
                            <a:lumMod val="50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en-US" sz="1200" dirty="0">
                          <a:cs typeface="Arial" pitchFamily="34" charset="0"/>
                        </a:rPr>
                        <a:t> Sales</a:t>
                      </a:r>
                      <a:endParaRPr lang="en-US" sz="1200" dirty="0"/>
                    </a:p>
                  </a:txBody>
                  <a:tcPr marL="182880" marR="9525" marT="9525" marB="91426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80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ofit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06400" lvl="0" indent="-177800" algn="l">
                        <a:buFont typeface="Wingdings" pitchFamily="2" charset="2"/>
                        <a:buChar char="ü"/>
                      </a:pPr>
                      <a:endParaRPr lang="en-US" sz="1200" dirty="0"/>
                    </a:p>
                  </a:txBody>
                  <a:tcPr marL="198120" marR="10319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0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aterials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06400" lvl="0" indent="-177800" algn="l">
                        <a:buFont typeface="Wingdings" pitchFamily="2" charset="2"/>
                        <a:buChar char="ü"/>
                      </a:pPr>
                      <a:endParaRPr lang="en-US" sz="1200" dirty="0"/>
                    </a:p>
                  </a:txBody>
                  <a:tcPr marL="198120" marR="10319" marT="9525" marB="9144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805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Direct Labor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06400" lvl="0" indent="-177800" algn="l">
                        <a:buFont typeface="Wingdings" pitchFamily="2" charset="2"/>
                        <a:buChar char="ü"/>
                      </a:pPr>
                      <a:endParaRPr lang="en-US" sz="1200" dirty="0"/>
                    </a:p>
                  </a:txBody>
                  <a:tcPr marL="198120" marR="10319" marT="9525" marB="9144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41288" y="304800"/>
            <a:ext cx="7669212" cy="304800"/>
          </a:xfrm>
          <a:prstGeom prst="rect">
            <a:avLst/>
          </a:prstGeom>
        </p:spPr>
        <p:txBody>
          <a:bodyPr/>
          <a:lstStyle/>
          <a:p>
            <a:pPr defTabSz="768350">
              <a:defRPr/>
            </a:pPr>
            <a:r>
              <a:rPr lang="en-GB" sz="20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tribution of Costs</a:t>
            </a:r>
          </a:p>
        </p:txBody>
      </p:sp>
      <p:sp>
        <p:nvSpPr>
          <p:cNvPr id="11287" name="Rectangle 11"/>
          <p:cNvSpPr>
            <a:spLocks noChangeArrowheads="1"/>
          </p:cNvSpPr>
          <p:nvPr/>
        </p:nvSpPr>
        <p:spPr bwMode="auto">
          <a:xfrm>
            <a:off x="152400" y="84138"/>
            <a:ext cx="2039938" cy="1539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US" altLang="en-US" sz="1000" dirty="0">
                <a:solidFill>
                  <a:schemeClr val="accent2"/>
                </a:solidFill>
              </a:rPr>
              <a:t>Cost Methodology and Assumptions</a:t>
            </a:r>
          </a:p>
        </p:txBody>
      </p:sp>
    </p:spTree>
    <p:extLst>
      <p:ext uri="{BB962C8B-B14F-4D97-AF65-F5344CB8AC3E}">
        <p14:creationId xmlns:p14="http://schemas.microsoft.com/office/powerpoint/2010/main" val="12822823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AF09DD8-E335-4F74-9844-1F1E749A2B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17173"/>
            <a:ext cx="8439150" cy="466981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158176-C357-4858-B84B-CCF59C54C73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7747852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5D93D82-E4E5-41E4-8671-C305C72EAE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17173"/>
            <a:ext cx="8439150" cy="466981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F83E78A-E604-4BC4-94E2-732D83576A0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40816180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3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DD710B9-DD3C-4C24-B7FE-5E718E95CE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17173"/>
            <a:ext cx="8439150" cy="466981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74A2CA-C775-4274-B187-44315C5BB76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6154136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Edge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C8597E3-EEE6-4D57-BDAC-B2DC2D7C00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58756"/>
            <a:ext cx="8439150" cy="378665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Edge, 2016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B67A27-5321-4B91-BD2F-C4B5586902A2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5544021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Honda Accord, MY 2010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7351505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59EEE18-6DAE-42C7-B858-889385C376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68362"/>
            <a:ext cx="8439150" cy="416743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0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20480" y="6513444"/>
            <a:ext cx="44435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      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9E11A2-03DC-43D4-8FFF-6F1FBCB8E5CE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5250068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0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20480" y="6513444"/>
            <a:ext cx="44435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       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479AAA25-F8EC-4083-9EDA-E07D6F14B39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06895"/>
            <a:ext cx="8439150" cy="389037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0B5AD2-0413-4AAA-B15E-02F683EC40F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841429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D62CED4-B8A1-43E2-AD8E-77AD9DA3CC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45829"/>
            <a:ext cx="8439150" cy="341250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1722FE-C1BF-4376-9341-4678CB6DC7E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24911508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DD96EB3-9FB9-4E4F-A513-BEB079057A9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20658"/>
            <a:ext cx="8439150" cy="326284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A0DCF36-0DAD-4980-9BE3-80A25D0DEB92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9345416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0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CF267ABD-AF64-4272-A3B5-27D7B6C948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64588"/>
            <a:ext cx="8439150" cy="317498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381867-93FA-4502-BD91-77BBB6D0DDE2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985314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54217"/>
              </p:ext>
            </p:extLst>
          </p:nvPr>
        </p:nvGraphicFramePr>
        <p:xfrm>
          <a:off x="250825" y="1052513"/>
          <a:ext cx="8534400" cy="5472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4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5992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Annual Vehicle Production Volume 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600"/>
                        </a:spcBef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200,000 units per year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18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anufacturing Cost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600"/>
                        </a:spcBef>
                      </a:pPr>
                      <a:r>
                        <a:rPr lang="en-US" sz="1200" dirty="0"/>
                        <a:t>Costs of Materials + Labor + Piece Burden Cost (USA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18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G&amp;A 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600"/>
                        </a:spcBef>
                      </a:pPr>
                      <a:r>
                        <a:rPr lang="en-US" sz="1200" dirty="0"/>
                        <a:t>7%  of Total Manufacturing Cost (Based on Automotive Industry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8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Pre Tax Profit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600"/>
                        </a:spcBef>
                      </a:pPr>
                      <a:r>
                        <a:rPr lang="en-US" sz="1200" dirty="0"/>
                        <a:t>4%  of Total Manufacturing Cost (Based on Automotive Industry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741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Freight Cost </a:t>
                      </a:r>
                    </a:p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(Inbound to Vendor)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600"/>
                        </a:spcBef>
                      </a:pPr>
                      <a:r>
                        <a:rPr lang="en-US" sz="1200" dirty="0"/>
                        <a:t>3% of Purchased Materials Cost (Based on Automotive Industry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921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upplier costs not Included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dirty="0"/>
                        <a:t>OEM ED&amp;D </a:t>
                      </a:r>
                    </a:p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dirty="0"/>
                        <a:t>Outbound (to OEM) Packaging &amp; Transportation</a:t>
                      </a:r>
                    </a:p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dirty="0"/>
                        <a:t>Tooling</a:t>
                      </a:r>
                    </a:p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dirty="0"/>
                        <a:t>Taxes -Tariffs</a:t>
                      </a:r>
                    </a:p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dirty="0"/>
                        <a:t>Royalty-License Fees </a:t>
                      </a:r>
                    </a:p>
                    <a:p>
                      <a:pPr marL="0" lvl="0" indent="-347472" algn="l">
                        <a:lnSpc>
                          <a:spcPts val="1400"/>
                        </a:lnSpc>
                        <a:spcBef>
                          <a:spcPts val="600"/>
                        </a:spcBef>
                        <a:buFont typeface="Wingdings" pitchFamily="2" charset="2"/>
                        <a:buChar char="ü"/>
                        <a:tabLst>
                          <a:tab pos="3206750" algn="l"/>
                        </a:tabLst>
                        <a:defRPr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oftware development and integration</a:t>
                      </a:r>
                      <a:r>
                        <a:rPr lang="en-US" sz="1200" b="0" i="0" u="none" strike="noStrike" baseline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costs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2880" marR="9525" marT="9525" marB="9144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320" name="Rectangle 11"/>
          <p:cNvSpPr>
            <a:spLocks noChangeArrowheads="1"/>
          </p:cNvSpPr>
          <p:nvPr/>
        </p:nvSpPr>
        <p:spPr bwMode="auto">
          <a:xfrm>
            <a:off x="152400" y="84138"/>
            <a:ext cx="2039938" cy="1539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US" altLang="en-US" sz="1000" dirty="0">
                <a:solidFill>
                  <a:schemeClr val="accent2"/>
                </a:solidFill>
              </a:rPr>
              <a:t>Cost Methodology and Assumptions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41288" y="304800"/>
            <a:ext cx="7669212" cy="304800"/>
          </a:xfrm>
          <a:prstGeom prst="rect">
            <a:avLst/>
          </a:prstGeom>
        </p:spPr>
        <p:txBody>
          <a:bodyPr/>
          <a:lstStyle/>
          <a:p>
            <a:pPr defTabSz="768350">
              <a:defRPr/>
            </a:pPr>
            <a:r>
              <a:rPr lang="en-GB" sz="20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finitions and Assumptions (1 of 2)</a:t>
            </a:r>
          </a:p>
        </p:txBody>
      </p:sp>
    </p:spTree>
    <p:extLst>
      <p:ext uri="{BB962C8B-B14F-4D97-AF65-F5344CB8AC3E}">
        <p14:creationId xmlns:p14="http://schemas.microsoft.com/office/powerpoint/2010/main" val="27162040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93F8090-A271-4E1B-A988-A7B2D19F3A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68109"/>
            <a:ext cx="8439150" cy="256794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FBC6D4-0F79-48C9-A4A7-5227FDE259BE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42119557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Honda Accord, MY 2014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42885352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4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20480" y="6513444"/>
            <a:ext cx="44435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       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912FED1-601F-4D4A-B36E-7797EE21AA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413576"/>
            <a:ext cx="8439150" cy="507701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CA7BAA-1B0E-4351-885C-62D49FDE258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95485903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4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20480" y="6513444"/>
            <a:ext cx="44435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000000"/>
                </a:solidFill>
                <a:latin typeface="Arial" panose="020B0604020202020204" pitchFamily="34" charset="0"/>
              </a:rPr>
              <a:t>        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4F6024F-FF6F-49A3-98DF-06759B52B4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346773"/>
            <a:ext cx="8439150" cy="521061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CF36A78-47FF-4D14-8930-0E6B14287EA6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414416056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Honda Accord, 2014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F44E134-B861-4D88-B45C-0E85AD6BDC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94340" y="1306513"/>
            <a:ext cx="8355320" cy="5291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1082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5F46204-4297-4CBF-B926-34758EB42976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4D6202C-AE3A-40E4-B92F-E7611426B4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38455"/>
            <a:ext cx="8439150" cy="422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92938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503278-D8A6-44C3-9536-E8C13E3D746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F5BB863-8B3D-429E-8F96-33920CE8F5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782833"/>
            <a:ext cx="8439150" cy="4338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9370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Honda Accord 2014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Honda Accord, 201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2DA844-B5BB-4633-AB99-B49099842527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EE7ED6E0-00E9-4C49-8C27-5EBF8E3CE7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727212"/>
            <a:ext cx="8439150" cy="4449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6657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Ford Mustang, MY 2006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3427857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0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244EC74-41B0-4387-AA71-254F744399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48243"/>
            <a:ext cx="8439150" cy="460767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Mustang, 2006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C4A469-BCB1-4390-A3B6-CFC1078C37E0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4154970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1409669"/>
              </p:ext>
            </p:extLst>
          </p:nvPr>
        </p:nvGraphicFramePr>
        <p:xfrm>
          <a:off x="250828" y="1052735"/>
          <a:ext cx="8587105" cy="27067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8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941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91279">
                <a:tc rowSpan="6"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Mechanical Components</a:t>
                      </a:r>
                    </a:p>
                  </a:txBody>
                  <a:tcPr marT="9525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Assembly</a:t>
                      </a:r>
                      <a:r>
                        <a:rPr lang="en-US" sz="1200" b="1" i="0" u="none" strike="noStrike" baseline="0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&amp; Mfg. Loc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0"/>
                        </a:spcBef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latin typeface="+mn-lt"/>
                          <a:cs typeface="Arial" pitchFamily="34" charset="0"/>
                        </a:rPr>
                        <a:t>United States</a:t>
                      </a: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279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Equipment</a:t>
                      </a:r>
                      <a:r>
                        <a:rPr lang="en-US" sz="1200" b="1" i="0" u="none" strike="noStrike" baseline="0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 Amortizatio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 Years Straight Line, $0 Residual Value</a:t>
                      </a: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9329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Operation Plan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-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  Hour Shift/200K</a:t>
                      </a: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96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Burdened Labor Rate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0"/>
                        </a:spcBef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$32.81/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hr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(United States Machining/Assembly); $23.20 (United States Injection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Molding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496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Indirect Labor Rate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fontAlgn="ctr">
                        <a:spcBef>
                          <a:spcPts val="0"/>
                        </a:spcBef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45% - 50% (Depending on Complexity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960">
                <a:tc vMerge="1">
                  <a:txBody>
                    <a:bodyPr/>
                    <a:lstStyle/>
                    <a:p>
                      <a:pPr algn="l" fontAlgn="ctr"/>
                      <a:endParaRPr lang="en-US" sz="1300" b="1" i="0" u="none" strike="noStrik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7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600"/>
                        </a:spcBef>
                      </a:pP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Scrap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BB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1% Total Materials Cost (Based on Automotive Industry)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marL="182880" marR="9525" marT="9525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315" name="Rectangle 11"/>
          <p:cNvSpPr>
            <a:spLocks noChangeArrowheads="1"/>
          </p:cNvSpPr>
          <p:nvPr/>
        </p:nvSpPr>
        <p:spPr bwMode="auto">
          <a:xfrm>
            <a:off x="152400" y="84138"/>
            <a:ext cx="2039938" cy="15398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US" altLang="en-US" sz="1000" dirty="0">
                <a:solidFill>
                  <a:schemeClr val="accent2"/>
                </a:solidFill>
              </a:rPr>
              <a:t>Cost Methodology and Assumptions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41288" y="304800"/>
            <a:ext cx="7669212" cy="304800"/>
          </a:xfrm>
          <a:prstGeom prst="rect">
            <a:avLst/>
          </a:prstGeom>
        </p:spPr>
        <p:txBody>
          <a:bodyPr/>
          <a:lstStyle/>
          <a:p>
            <a:pPr defTabSz="768350">
              <a:defRPr/>
            </a:pPr>
            <a:r>
              <a:rPr lang="en-GB" sz="20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efinitions and Assumptions (2 of 2)</a:t>
            </a:r>
          </a:p>
        </p:txBody>
      </p:sp>
    </p:spTree>
    <p:extLst>
      <p:ext uri="{BB962C8B-B14F-4D97-AF65-F5344CB8AC3E}">
        <p14:creationId xmlns:p14="http://schemas.microsoft.com/office/powerpoint/2010/main" val="145684713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0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EA732A5-0CD2-41EE-8346-A8ADD3AA03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00304"/>
            <a:ext cx="8439150" cy="350355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Mustang, 2006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ABF2E8-3A86-427C-9A15-ACF14FA34A20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1980588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0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D81C125-4779-4E30-945E-CFC9289EEA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34392"/>
            <a:ext cx="8439150" cy="383537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Mustang, 2006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0B5716-E593-477A-99BE-95D071651CC0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86133704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0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A27761F-2F6C-4B0E-9C00-D59DDF9BE2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493921"/>
            <a:ext cx="8439150" cy="291632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Mustang, 2006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27BA120-9C1F-42FE-A61F-9ECCB8F62727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1118960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Ford Mustang, MY 2016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421389331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B5AF5F6-3F92-49D5-A49C-2CBE631F3D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34678"/>
            <a:ext cx="8439150" cy="423480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Mustang, 2016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86869B-3A3E-4918-9AEB-4F22655D1C76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5435006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A7E9A64-AC56-4D95-93F4-BA4AF17678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710686"/>
            <a:ext cx="8439150" cy="4482791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Mustang, 2016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97A7F72-88BE-4F9E-A97B-07F197D32F8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92476198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5306458-9487-4DF1-8451-3EDB5B89EE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142273"/>
            <a:ext cx="8439150" cy="361961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Ford Mustang, 2016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3682BB-3AF3-4AE8-B91B-64CB43553DF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40149662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C7B48F9-15FE-40BA-856F-EB27529F89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02922"/>
            <a:ext cx="8439150" cy="349831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Mustang, 2016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432391-29F8-4C8E-A148-27995077B0D1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59775201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8775151-17D1-4BA4-AAC6-54AA7D32D9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100494"/>
            <a:ext cx="8439150" cy="370317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Mustang, 2016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ABC35C-4669-4E46-9C9F-737BA94B14F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77052191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Ford Mustang 2016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Ford Mustang, 2016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5CE476-0F69-4FD7-A183-0D684A46C3D6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2293AEC-0E2A-4B8D-9E20-BF4B01E27ED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79071"/>
            <a:ext cx="8439150" cy="314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866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6" name="AutoShape 10"/>
          <p:cNvSpPr>
            <a:spLocks noChangeArrowheads="1"/>
          </p:cNvSpPr>
          <p:nvPr/>
        </p:nvSpPr>
        <p:spPr bwMode="auto">
          <a:xfrm rot="10800000">
            <a:off x="40940" y="1937981"/>
            <a:ext cx="1892463" cy="26876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6350" algn="ctr">
            <a:solidFill>
              <a:schemeClr val="accent2"/>
            </a:solidFill>
            <a:miter lim="800000"/>
            <a:headEnd/>
            <a:tailEnd/>
          </a:ln>
        </p:spPr>
        <p:txBody>
          <a:bodyPr rot="10800000" vert="horz" wrap="none" anchor="ctr"/>
          <a:lstStyle/>
          <a:p>
            <a:pPr algn="ctr" defTabSz="762000"/>
            <a:r>
              <a:rPr lang="en-US" altLang="en-US" sz="1200" b="1" noProof="1">
                <a:solidFill>
                  <a:schemeClr val="bg1"/>
                </a:solidFill>
              </a:rPr>
              <a:t>Subcomponents</a:t>
            </a:r>
          </a:p>
        </p:txBody>
      </p:sp>
      <p:pic>
        <p:nvPicPr>
          <p:cNvPr id="23" name="Picture 22" descr="PNGTEST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backgroundMark x1="17500" y1="83380" x2="17500" y2="83380"/>
                        <a14:backgroundMark x1="88125" y1="82548" x2="88125" y2="82548"/>
                        <a14:backgroundMark x1="71406" y1="83102" x2="71406" y2="83102"/>
                        <a14:backgroundMark x1="70625" y1="88366" x2="70625" y2="88366"/>
                        <a14:backgroundMark x1="71406" y1="76177" x2="71406" y2="76177"/>
                        <a14:backgroundMark x1="48906" y1="83380" x2="48906" y2="83380"/>
                        <a14:backgroundMark x1="71250" y1="13850" x2="71250" y2="13850"/>
                        <a14:backgroundMark x1="26719" y1="83934" x2="26719" y2="83934"/>
                        <a14:backgroundMark x1="36719" y1="83380" x2="36719" y2="83380"/>
                        <a14:backgroundMark x1="57656" y1="82825" x2="57656" y2="82825"/>
                        <a14:backgroundMark x1="71719" y1="18837" x2="71719" y2="18837"/>
                        <a14:backgroundMark x1="75156" y1="82825" x2="75156" y2="82825"/>
                        <a14:backgroundMark x1="82344" y1="73684" x2="82344" y2="73684"/>
                        <a14:backgroundMark x1="78906" y1="73130" x2="78906" y2="73130"/>
                        <a14:backgroundMark x1="87656" y1="71745" x2="87656" y2="71745"/>
                        <a14:backgroundMark x1="74375" y1="73130" x2="74375" y2="73130"/>
                        <a14:backgroundMark x1="70156" y1="74515" x2="70156" y2="74515"/>
                        <a14:backgroundMark x1="63281" y1="78947" x2="63281" y2="78947"/>
                        <a14:backgroundMark x1="47031" y1="69806" x2="47031" y2="69806"/>
                        <a14:backgroundMark x1="36250" y1="68144" x2="36250" y2="68144"/>
                        <a14:backgroundMark x1="24531" y1="67036" x2="24531" y2="67036"/>
                        <a14:backgroundMark x1="17656" y1="70914" x2="17656" y2="70914"/>
                        <a14:backgroundMark x1="30156" y1="68144" x2="30156" y2="68144"/>
                        <a14:backgroundMark x1="41563" y1="68421" x2="41563" y2="68421"/>
                        <a14:backgroundMark x1="50469" y1="69529" x2="50469" y2="69529"/>
                        <a14:backgroundMark x1="56563" y1="75069" x2="56563" y2="75069"/>
                        <a14:backgroundMark x1="52344" y1="71468" x2="52344" y2="71468"/>
                        <a14:backgroundMark x1="43906" y1="69806" x2="43906" y2="69806"/>
                        <a14:backgroundMark x1="32344" y1="83380" x2="32344" y2="83380"/>
                        <a14:backgroundMark x1="22188" y1="82825" x2="22188" y2="82825"/>
                        <a14:backgroundMark x1="44531" y1="82548" x2="44531" y2="82548"/>
                        <a14:backgroundMark x1="14063" y1="82825" x2="14063" y2="82825"/>
                        <a14:backgroundMark x1="11094" y1="82548" x2="11094" y2="82548"/>
                        <a14:backgroundMark x1="62969" y1="82825" x2="62969" y2="82825"/>
                        <a14:backgroundMark x1="71719" y1="72853" x2="71719" y2="728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9122" y="988803"/>
            <a:ext cx="1271847" cy="960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152400" y="84138"/>
            <a:ext cx="1468351" cy="1538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US" altLang="en-US" sz="1000">
                <a:solidFill>
                  <a:schemeClr val="accent2"/>
                </a:solidFill>
              </a:rPr>
              <a:t>Example Cost Breakdown</a:t>
            </a:r>
          </a:p>
        </p:txBody>
      </p:sp>
      <p:sp>
        <p:nvSpPr>
          <p:cNvPr id="48" name="Rectangle 3"/>
          <p:cNvSpPr txBox="1">
            <a:spLocks noChangeArrowheads="1"/>
          </p:cNvSpPr>
          <p:nvPr/>
        </p:nvSpPr>
        <p:spPr>
          <a:xfrm>
            <a:off x="141288" y="304800"/>
            <a:ext cx="7669212" cy="304800"/>
          </a:xfrm>
          <a:prstGeom prst="rect">
            <a:avLst/>
          </a:prstGeom>
        </p:spPr>
        <p:txBody>
          <a:bodyPr/>
          <a:lstStyle/>
          <a:p>
            <a:pPr defTabSz="768350">
              <a:defRPr/>
            </a:pPr>
            <a:r>
              <a:rPr lang="en-US" sz="2000" b="1" ker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ach subassembly is analyzed down to component level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21" y="2685897"/>
            <a:ext cx="894583" cy="500959"/>
          </a:xfrm>
          <a:prstGeom prst="rect">
            <a:avLst/>
          </a:prstGeom>
        </p:spPr>
      </p:pic>
      <p:sp>
        <p:nvSpPr>
          <p:cNvPr id="26" name="TextBox 15"/>
          <p:cNvSpPr txBox="1">
            <a:spLocks noChangeArrowheads="1"/>
          </p:cNvSpPr>
          <p:nvPr/>
        </p:nvSpPr>
        <p:spPr bwMode="auto">
          <a:xfrm>
            <a:off x="1592156" y="1284725"/>
            <a:ext cx="222629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en-US" sz="1100" b="1"/>
              <a:t>Example: Fuel Filler Neck Valve Assembly</a:t>
            </a:r>
          </a:p>
        </p:txBody>
      </p:sp>
      <p:pic>
        <p:nvPicPr>
          <p:cNvPr id="28" name="Picture 27" descr="PNGTEST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1323835" y="4981433"/>
            <a:ext cx="373040" cy="645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31" descr="PNGTEST"/>
          <p:cNvPicPr>
            <a:picLocks noChangeAspect="1" noChangeArrowheads="1"/>
          </p:cNvPicPr>
          <p:nvPr/>
        </p:nvPicPr>
        <p:blipFill rotWithShape="1">
          <a:blip r:embed="rId10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87357" y="4449171"/>
            <a:ext cx="536812" cy="564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34" descr="PNGTEST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88127" y="5659004"/>
            <a:ext cx="569956" cy="325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5" descr="PNGTEST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0060" y="3289107"/>
            <a:ext cx="524084" cy="447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15"/>
          <p:cNvSpPr txBox="1">
            <a:spLocks noChangeArrowheads="1"/>
          </p:cNvSpPr>
          <p:nvPr/>
        </p:nvSpPr>
        <p:spPr bwMode="auto">
          <a:xfrm>
            <a:off x="0" y="2770494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Housing</a:t>
            </a:r>
          </a:p>
        </p:txBody>
      </p:sp>
      <p:sp>
        <p:nvSpPr>
          <p:cNvPr id="38" name="TextBox 15"/>
          <p:cNvSpPr txBox="1">
            <a:spLocks noChangeArrowheads="1"/>
          </p:cNvSpPr>
          <p:nvPr/>
        </p:nvSpPr>
        <p:spPr bwMode="auto">
          <a:xfrm>
            <a:off x="0" y="3332328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O-r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614" t="25778" r="24909" b="15468"/>
          <a:stretch/>
        </p:blipFill>
        <p:spPr>
          <a:xfrm>
            <a:off x="1214651" y="3889614"/>
            <a:ext cx="427865" cy="429903"/>
          </a:xfrm>
          <a:prstGeom prst="rect">
            <a:avLst/>
          </a:prstGeom>
        </p:spPr>
      </p:pic>
      <p:sp>
        <p:nvSpPr>
          <p:cNvPr id="39" name="TextBox 15"/>
          <p:cNvSpPr txBox="1">
            <a:spLocks noChangeArrowheads="1"/>
          </p:cNvSpPr>
          <p:nvPr/>
        </p:nvSpPr>
        <p:spPr bwMode="auto">
          <a:xfrm>
            <a:off x="0" y="3976048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Support</a:t>
            </a:r>
          </a:p>
        </p:txBody>
      </p:sp>
      <p:sp>
        <p:nvSpPr>
          <p:cNvPr id="40" name="TextBox 15"/>
          <p:cNvSpPr txBox="1">
            <a:spLocks noChangeArrowheads="1"/>
          </p:cNvSpPr>
          <p:nvPr/>
        </p:nvSpPr>
        <p:spPr bwMode="auto">
          <a:xfrm>
            <a:off x="0" y="4606119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Gate</a:t>
            </a:r>
          </a:p>
        </p:txBody>
      </p:sp>
      <p:sp>
        <p:nvSpPr>
          <p:cNvPr id="42" name="TextBox 15"/>
          <p:cNvSpPr txBox="1">
            <a:spLocks noChangeArrowheads="1"/>
          </p:cNvSpPr>
          <p:nvPr/>
        </p:nvSpPr>
        <p:spPr bwMode="auto">
          <a:xfrm>
            <a:off x="0" y="5140656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Spring</a:t>
            </a:r>
          </a:p>
        </p:txBody>
      </p:sp>
      <p:sp>
        <p:nvSpPr>
          <p:cNvPr id="43" name="TextBox 15"/>
          <p:cNvSpPr txBox="1">
            <a:spLocks noChangeArrowheads="1"/>
          </p:cNvSpPr>
          <p:nvPr/>
        </p:nvSpPr>
        <p:spPr bwMode="auto">
          <a:xfrm>
            <a:off x="0" y="5675194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Pin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2140281" y="2634017"/>
          <a:ext cx="6758059" cy="4067035"/>
        </p:xfrm>
        <a:graphic>
          <a:graphicData uri="http://schemas.openxmlformats.org/drawingml/2006/table">
            <a:tbl>
              <a:tblPr/>
              <a:tblGrid>
                <a:gridCol w="4758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91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91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779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00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70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7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190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326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1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1832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543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6874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28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6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1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1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1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3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3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8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3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4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100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15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1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3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3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2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00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36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36</a:t>
                      </a:r>
                    </a:p>
                  </a:txBody>
                  <a:tcPr marL="4034" marR="4034" marT="403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54" name="Table 53"/>
          <p:cNvGraphicFramePr>
            <a:graphicFrameLocks noGrp="1"/>
          </p:cNvGraphicFramePr>
          <p:nvPr>
            <p:extLst/>
          </p:nvPr>
        </p:nvGraphicFramePr>
        <p:xfrm>
          <a:off x="2124748" y="2357779"/>
          <a:ext cx="6787240" cy="278354"/>
        </p:xfrm>
        <a:graphic>
          <a:graphicData uri="http://schemas.openxmlformats.org/drawingml/2006/table">
            <a:tbl>
              <a:tblPr/>
              <a:tblGrid>
                <a:gridCol w="4779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1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13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14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07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94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312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245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344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277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0943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225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8795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5010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ycle (sec)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umber Out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an Power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rect Labor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ixed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ariable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aterial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ub Cost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G&amp;A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fit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Freight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/Unit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$/System</a:t>
                      </a:r>
                    </a:p>
                  </a:txBody>
                  <a:tcPr marL="4034" marR="4034" marT="403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906" y="6213052"/>
            <a:ext cx="812978" cy="458583"/>
          </a:xfrm>
          <a:prstGeom prst="rect">
            <a:avLst/>
          </a:prstGeom>
        </p:spPr>
      </p:pic>
      <p:sp>
        <p:nvSpPr>
          <p:cNvPr id="55" name="TextBox 15"/>
          <p:cNvSpPr txBox="1">
            <a:spLocks noChangeArrowheads="1"/>
          </p:cNvSpPr>
          <p:nvPr/>
        </p:nvSpPr>
        <p:spPr bwMode="auto">
          <a:xfrm>
            <a:off x="0" y="6291617"/>
            <a:ext cx="109416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en-US" sz="1100" b="1" dirty="0"/>
              <a:t>Assemble</a:t>
            </a:r>
          </a:p>
        </p:txBody>
      </p:sp>
    </p:spTree>
    <p:extLst>
      <p:ext uri="{BB962C8B-B14F-4D97-AF65-F5344CB8AC3E}">
        <p14:creationId xmlns:p14="http://schemas.microsoft.com/office/powerpoint/2010/main" val="301359272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Grand Cherokee, MY 2008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34018822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08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CEB4C49-A412-4C8D-96BF-5B70660538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17768"/>
            <a:ext cx="8439150" cy="426862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Grand Cherokee, 200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BF81F5-EDDA-41AC-8F0B-A21C26120A8F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747663190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08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C645EC4-4795-4CBA-8C10-8098C53CDA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90382"/>
            <a:ext cx="8439150" cy="452339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Grand Cherokee, 200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C59E8-0562-45C3-BAD9-93038FD66BF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681963078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08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6F8CF82-4260-4F9D-AB07-C80A06E502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177199"/>
            <a:ext cx="8439150" cy="3549765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Grand Cherokee, 200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6B7055-FB8C-4A4B-B69F-19807F01CEC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71922527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08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A75C51D-4B79-4512-B65B-90B4513620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71266"/>
            <a:ext cx="8439150" cy="3761631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Grand Cherokee, 200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5FE267-3EAB-4C69-BA32-5304F5175CB8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85759600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Grand Cherokee, MY 2011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364685962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Grand Cherokee, 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A8A7ED-C070-41D6-ABA6-6639C2B23F0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007136D8-C685-4173-B7DB-7ECEF3D917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81979"/>
            <a:ext cx="8439150" cy="3140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22519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Grand Cherokee, 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5A8A7ED-C070-41D6-ABA6-6639C2B23F0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C9CF211-A236-438A-9ED1-E2158695F4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17159"/>
            <a:ext cx="8439150" cy="326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27303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9924BE5-71F6-462E-BE40-E7A09E295A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692959"/>
            <a:ext cx="8439150" cy="451824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Grand Cherokee, 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978AD8-5797-4F96-BE38-9A0B9157D5C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40327087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2F9A287-A397-4BE4-B19F-BF742F5FE0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63849"/>
            <a:ext cx="8439150" cy="2576464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Grand Cherokee, 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D7CB68-9D9D-4C6B-8252-DC9E1C8D0E2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624774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6547" name="Rectangle 3"/>
          <p:cNvSpPr>
            <a:spLocks noGrp="1" noChangeArrowheads="1"/>
          </p:cNvSpPr>
          <p:nvPr>
            <p:ph type="title"/>
          </p:nvPr>
        </p:nvSpPr>
        <p:spPr>
          <a:xfrm>
            <a:off x="140677" y="304800"/>
            <a:ext cx="7669823" cy="304800"/>
          </a:xfrm>
        </p:spPr>
        <p:txBody>
          <a:bodyPr/>
          <a:lstStyle/>
          <a:p>
            <a:r>
              <a:rPr lang="en-GB" dirty="0"/>
              <a:t>Manufacture Cost Details</a:t>
            </a:r>
          </a:p>
        </p:txBody>
      </p:sp>
      <p:sp>
        <p:nvSpPr>
          <p:cNvPr id="215654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1398588" y="1092395"/>
            <a:ext cx="7299325" cy="5443872"/>
          </a:xfrm>
        </p:spPr>
        <p:txBody>
          <a:bodyPr tIns="90000"/>
          <a:lstStyle/>
          <a:p>
            <a:pPr marL="617538" lvl="1" indent="-34290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Dodge Ram Extended Cab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7 &amp; MY 2010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Ford Edge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9 &amp; MY 2016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Honda Accord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10 &amp; MY 2014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Ford Mustang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6 &amp; MY 2016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Jeep Grand Cherokee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8 &amp; MY 2011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Buick LaCrosse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5 &amp; MY 2010</a:t>
            </a:r>
          </a:p>
          <a:p>
            <a:pPr marL="617538" lvl="1" indent="-34290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Chevrolet Impala</a:t>
            </a:r>
          </a:p>
          <a:p>
            <a:pPr marL="882650" lvl="2" indent="-342900">
              <a:spcBef>
                <a:spcPts val="0"/>
              </a:spcBef>
              <a:spcAft>
                <a:spcPts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</a:rPr>
              <a:t>MY 2003 &amp; MY 2011</a:t>
            </a:r>
          </a:p>
          <a:p>
            <a:pPr lvl="1"/>
            <a:endParaRPr lang="en-GB" b="1" dirty="0"/>
          </a:p>
          <a:p>
            <a:pPr marL="0" indent="0">
              <a:buNone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47079505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Grand Cherokee, 201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CD7CB68-9D9D-4C6B-8252-DC9E1C8D0E29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4CBDF58-C242-42FB-9CF7-74BE3C6880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10665"/>
            <a:ext cx="8439150" cy="268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94330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Grand Cherokee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Grand Cherokee, 201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49D1D7-6421-4B75-8B0D-5F7E275ACC6C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336391EC-39E9-4CE9-AF94-EEC5049225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098524"/>
            <a:ext cx="8439150" cy="370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3847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Buick LaCrosse, MY 2005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380494986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05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7F76DBC-B26B-48B1-BD6C-92612D5184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475993"/>
            <a:ext cx="8439150" cy="295217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856995-34F9-4A3F-B8F3-D488045B2531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08948827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05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856995-34F9-4A3F-B8F3-D488045B2531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14BDC93-636B-4ECA-A6BE-7B6F012A50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87053"/>
            <a:ext cx="8439150" cy="3330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66575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05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9672551-DE27-40ED-8443-3B06C4D61E6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421673"/>
            <a:ext cx="8439150" cy="306081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6CD6BAE-3A7D-4309-9C91-82DF5F66343D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61019077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05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774AF67-DBBB-4432-9B15-7B624DFAC3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720973"/>
            <a:ext cx="8439150" cy="246221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E0A7B6-DFCD-4C79-BB88-D9E79E48722D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03799942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05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E0A7B6-DFCD-4C79-BB88-D9E79E48722D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4F89CE3-2970-4118-A2AD-A3AFF8FF60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563391"/>
            <a:ext cx="8439150" cy="2777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84285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05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19FA0AA-726A-432E-9110-2B4B62AEE2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75668"/>
            <a:ext cx="8439150" cy="2552827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05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6FDDDA-850D-4C10-ADAE-8A440BF03E8F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599252788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Buick LaCrosse, MY 2010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567035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Ram Extended Cab, MY 2007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158062538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7318DC0-8934-4EDD-89E3-05F2CDBCEF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916260"/>
            <a:ext cx="8439150" cy="4071642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190B10-A8EF-4798-A9C3-68A908F7F18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56438920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3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190B10-A8EF-4798-A9C3-68A908F7F18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F69EE01-486B-4722-908C-80DF430D2E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913898"/>
            <a:ext cx="8439150" cy="4076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50375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3/3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190B10-A8EF-4798-A9C3-68A908F7F185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E981F98-0C61-4229-A565-DD75CA5C2A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850131"/>
            <a:ext cx="8439150" cy="42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72808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10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178E77C-71C0-4133-B12E-C76D41AF29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545467"/>
            <a:ext cx="8439150" cy="481322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D17CBFC-059F-48CC-8EC0-75A806EF4B87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16828310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3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9E8F022-0AC7-4AC3-8406-1EED2C99FB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54136"/>
            <a:ext cx="8439150" cy="339589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770CE5B-0D31-4BEE-9C3C-5A898C5C062C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73337523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3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770CE5B-0D31-4BEE-9C3C-5A898C5C062C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19DC43F-B75A-4FE4-B0D1-E98CBE81721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52166"/>
            <a:ext cx="8439150" cy="3399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70867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LaCrosse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3/3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770CE5B-0D31-4BEE-9C3C-5A898C5C062C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6797D69-4AF2-447C-8A29-0ED734FE6D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198982"/>
            <a:ext cx="8439150" cy="350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51422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Buick </a:t>
            </a:r>
            <a:r>
              <a:rPr lang="en-US" dirty="0" err="1">
                <a:solidFill>
                  <a:srgbClr val="006BB7"/>
                </a:solidFill>
                <a:latin typeface="Arial" panose="020B0604020202020204" pitchFamily="34" charset="0"/>
              </a:rPr>
              <a:t>LaCrosse</a:t>
            </a: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 2010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E9C94BF8-E03B-4DE8-9E39-D671FFAEB4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944882"/>
            <a:ext cx="8439150" cy="401439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Buick </a:t>
            </a:r>
            <a:r>
              <a:rPr lang="en-US" altLang="en-US" sz="1000" dirty="0" err="1">
                <a:solidFill>
                  <a:srgbClr val="A7A9AC"/>
                </a:solidFill>
                <a:latin typeface="Arial" panose="020B0604020202020204" pitchFamily="34" charset="0"/>
              </a:rPr>
              <a:t>LaCrosse</a:t>
            </a: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, 2010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1BE428-CC56-42CD-9DB6-2D215DE2AB0A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08606382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Chevrolet Impala, MY 2003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420221701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03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Chevrolet Impala, 2003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C15424-C869-4F79-9119-83320E699A31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7C4CC176-1FBE-409C-BE93-C967F8C633D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3202" y="1921937"/>
            <a:ext cx="8437595" cy="406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11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am Extended Cab 2007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7D34919B-1D0C-47CB-94A9-901C914E64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1799001"/>
            <a:ext cx="8439150" cy="4306160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Ram Extended Cab, 200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D4A176-9F5E-41A9-B1D0-C56027CEE58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19264144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03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Chevrolet Impala, 2003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5BF294-B049-432E-BD2D-1AFD0EDC8DF7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30B2E169-0068-4EE7-866B-F4AEDF7FCEB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831191"/>
            <a:ext cx="8439150" cy="2241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38668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03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Chevrolet Impala, 2003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BF1B09-32B6-4C08-BF78-3BD9979A2A30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55A1CF66-A3BB-4118-8072-897F606D2D1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78286"/>
            <a:ext cx="8439150" cy="3347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936791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03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8B317E6-B988-473A-A01D-4184FFB6EF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3028608"/>
            <a:ext cx="8439150" cy="1846946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Chevrolet Impala, 2003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85F1F1-7A21-43D9-8F2D-3FA9037BAD0B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165862211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553998"/>
          </a:xfrm>
        </p:spPr>
        <p:txBody>
          <a:bodyPr/>
          <a:lstStyle/>
          <a:p>
            <a:r>
              <a:rPr lang="pt-BR" sz="3600" dirty="0"/>
              <a:t>Chevrolet Impala, MY 2011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tail manufacturing costs</a:t>
            </a:r>
          </a:p>
        </p:txBody>
      </p:sp>
    </p:spTree>
    <p:extLst>
      <p:ext uri="{BB962C8B-B14F-4D97-AF65-F5344CB8AC3E}">
        <p14:creationId xmlns:p14="http://schemas.microsoft.com/office/powerpoint/2010/main" val="286334237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1A03FD8-EA3E-4DF2-9195-ED75900276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346097"/>
            <a:ext cx="8439150" cy="3211968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33DBFE-DE21-4518-86AB-806D6BA37A7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61466341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33DBFE-DE21-4518-86AB-806D6BA37A7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54808D5-950D-417E-9EA2-0D0D3633C0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218563"/>
            <a:ext cx="8439150" cy="3467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27478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Total Mass and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ADC11D3-035B-4705-AC0C-57328FB1B1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50762"/>
            <a:ext cx="8439150" cy="2602639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Material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BD8D30-F419-481A-B6D8-8A650A609E93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31913553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1/2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BD6C4FC-E897-42BE-9A0C-034BD99FC7C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612635"/>
            <a:ext cx="8439150" cy="2678893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F6192-BB0E-4682-8116-9C37D633F04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40822430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304800"/>
            <a:ext cx="7669823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Side Panel Assembly (2/2)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F6192-BB0E-4682-8116-9C37D633F044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D685B21D-6B3D-4A21-B4CC-38CA64E7C7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506267"/>
            <a:ext cx="8439150" cy="2891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875488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Chevrolet Impala 2011 Manufacturing Cost Details – </a:t>
            </a:r>
            <a:b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006BB7"/>
                </a:solidFill>
                <a:latin typeface="Arial" panose="020B0604020202020204" pitchFamily="34" charset="0"/>
              </a:rPr>
              <a:t>Roof Panel Assembl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84B2DB1-0CB6-48DC-BA1A-46CC4824D78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52425" y="2866736"/>
            <a:ext cx="8439150" cy="2170691"/>
          </a:xfrm>
          <a:prstGeom prst="rect">
            <a:avLst/>
          </a:prstGeom>
        </p:spPr>
      </p:pic>
      <p:sp>
        <p:nvSpPr>
          <p:cNvPr id="5" name="Rectangle 11"/>
          <p:cNvSpPr>
            <a:spLocks noChangeArrowheads="1"/>
          </p:cNvSpPr>
          <p:nvPr/>
        </p:nvSpPr>
        <p:spPr bwMode="auto">
          <a:xfrm>
            <a:off x="139700" y="101600"/>
            <a:ext cx="6985000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defTabSz="762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1000" dirty="0">
                <a:solidFill>
                  <a:srgbClr val="A7A9AC"/>
                </a:solidFill>
                <a:latin typeface="Arial" panose="020B0604020202020204" pitchFamily="34" charset="0"/>
              </a:rPr>
              <a:t>Cost Details Chevrolet Impala, 2011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281C33-05C5-4ECE-B088-7FFA32E6CB2D}"/>
              </a:ext>
            </a:extLst>
          </p:cNvPr>
          <p:cNvSpPr/>
          <p:nvPr/>
        </p:nvSpPr>
        <p:spPr>
          <a:xfrm>
            <a:off x="53122" y="6555534"/>
            <a:ext cx="41216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</a:rPr>
              <a:t>Type: S=Subassembly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</a:rPr>
              <a:t>, P=Part, M=Manufacturing Process, A=Assemble, C=Container </a:t>
            </a:r>
          </a:p>
        </p:txBody>
      </p:sp>
    </p:spTree>
    <p:extLst>
      <p:ext uri="{BB962C8B-B14F-4D97-AF65-F5344CB8AC3E}">
        <p14:creationId xmlns:p14="http://schemas.microsoft.com/office/powerpoint/2010/main" val="2771783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mQJF2fMU.VC5PuQBnLA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mTw3YvNU.Ymf1tIvYo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.gqsnQGkiBJxRMQQKc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2hxlW4ZE2rSVFkjdGQ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ENu.N61E6wyNeKFr.N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8B8hPkj0aFI0S7sd.C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mMjwfLpUGe5rigp0Fe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NwUnScyUGZGyH6zCcz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aFXcId00m1cILpq4cJ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wjP446_0aWXnLYs.bP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zZz.ksWUmfl_laK6KT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lTzAjkREWYXLIFh5p.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lTzAjkREWYXLIFh5p.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lTzAjkREWYXLIFh5p.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yjDnnAUSkAodjPZLh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7H_AT6TEGDsYMOA1co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Dw86jeTUm8rHd5iX20g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r.RP0PiUyqFMkS0Lg7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4KNzXWOkq2grcuNVR8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mQJF2fMU.VC5PuQBnL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icardo Template UK-A4">
  <a:themeElements>
    <a:clrScheme name="">
      <a:dk1>
        <a:srgbClr val="000000"/>
      </a:dk1>
      <a:lt1>
        <a:srgbClr val="FFFFFF"/>
      </a:lt1>
      <a:dk2>
        <a:srgbClr val="DC241F"/>
      </a:dk2>
      <a:lt2>
        <a:srgbClr val="000000"/>
      </a:lt2>
      <a:accent1>
        <a:srgbClr val="006BB7"/>
      </a:accent1>
      <a:accent2>
        <a:srgbClr val="A7A9AC"/>
      </a:accent2>
      <a:accent3>
        <a:srgbClr val="FFFFFF"/>
      </a:accent3>
      <a:accent4>
        <a:srgbClr val="000000"/>
      </a:accent4>
      <a:accent5>
        <a:srgbClr val="AABAD8"/>
      </a:accent5>
      <a:accent6>
        <a:srgbClr val="97999B"/>
      </a:accent6>
      <a:hlink>
        <a:srgbClr val="99CCFF"/>
      </a:hlink>
      <a:folHlink>
        <a:srgbClr val="DDDDDD"/>
      </a:folHlink>
    </a:clrScheme>
    <a:fontScheme name="Ricardo Template UK-A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Ricardo Template UK-A4 1">
        <a:dk1>
          <a:srgbClr val="000000"/>
        </a:dk1>
        <a:lt1>
          <a:srgbClr val="FFFFFF"/>
        </a:lt1>
        <a:dk2>
          <a:srgbClr val="DC241F"/>
        </a:dk2>
        <a:lt2>
          <a:srgbClr val="000000"/>
        </a:lt2>
        <a:accent1>
          <a:srgbClr val="006BB7"/>
        </a:accent1>
        <a:accent2>
          <a:srgbClr val="A7A9AC"/>
        </a:accent2>
        <a:accent3>
          <a:srgbClr val="FFFFFF"/>
        </a:accent3>
        <a:accent4>
          <a:srgbClr val="000000"/>
        </a:accent4>
        <a:accent5>
          <a:srgbClr val="AABAD8"/>
        </a:accent5>
        <a:accent6>
          <a:srgbClr val="97999B"/>
        </a:accent6>
        <a:hlink>
          <a:srgbClr val="99CCFF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Documents and Settings\bh10\Application Data\Microsoft\Templates\Ricardo\Ricardo Template UK-A4.pot</Template>
  <TotalTime>67212</TotalTime>
  <Pages>1</Pages>
  <Words>3747</Words>
  <Application>Microsoft Office PowerPoint</Application>
  <PresentationFormat>Letter Paper (8.5x11 in)</PresentationFormat>
  <Paragraphs>541</Paragraphs>
  <Slides>9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9</vt:i4>
      </vt:variant>
    </vt:vector>
  </HeadingPairs>
  <TitlesOfParts>
    <vt:vector size="107" baseType="lpstr">
      <vt:lpstr>Arial</vt:lpstr>
      <vt:lpstr>Calibri</vt:lpstr>
      <vt:lpstr>Century Gothic</vt:lpstr>
      <vt:lpstr>Helvetica</vt:lpstr>
      <vt:lpstr>Times New Roman</vt:lpstr>
      <vt:lpstr>Wingdings</vt:lpstr>
      <vt:lpstr>Ricardo Template UK-A4</vt:lpstr>
      <vt:lpstr>think-cell Slide</vt:lpstr>
      <vt:lpstr>APPENDIX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nufacture Cost Details</vt:lpstr>
      <vt:lpstr>Ram Extended Cab, MY 2007</vt:lpstr>
      <vt:lpstr>Ram Extended Cab 2007 Total Mass and Cost Details –  Side Panel Assembly</vt:lpstr>
      <vt:lpstr>Ram Extended Cab 2007 Total Mass and Cost Details –  Roof Assembly</vt:lpstr>
      <vt:lpstr>Ram Extended Cab 2007 Manufacturing Cost Details –  Side Panel Assembly</vt:lpstr>
      <vt:lpstr>Ram Extended Cab 2007 Manufacturing Cost Details –  Roof Assembly</vt:lpstr>
      <vt:lpstr>Ram Extended Cab, MY 2010</vt:lpstr>
      <vt:lpstr>Ram Extended Cab 2010 Total Mass and Cost Details –  Side Panel Assembly</vt:lpstr>
      <vt:lpstr>Ram Extended Cab 2010 Total Mass and Cost Details –  Roof Assembly</vt:lpstr>
      <vt:lpstr>Ram Extended Cab 2010 Manufacturing Cost Details –  Side Panel Assembly</vt:lpstr>
      <vt:lpstr>Ram Extended Cab 2010 Manufacturing Cost Details –  Roof Assembly</vt:lpstr>
      <vt:lpstr>Ford Edge, MY 2009</vt:lpstr>
      <vt:lpstr>Ford Edge 2009 2014 Total Mass and Cost Details –  Side Panel Assembly (1/2)</vt:lpstr>
      <vt:lpstr>Ford Edge 2009 Total Mass and Cost Details –  Side Panel Assembly (2/2)</vt:lpstr>
      <vt:lpstr>Ford Edge 2009 Total Mass and Cost Details –  Roof Assembly</vt:lpstr>
      <vt:lpstr>Ford Edge 2009 Manufacturing Cost Details –  Side Panel Assembly (1/2)</vt:lpstr>
      <vt:lpstr>Ford Edge 2009 Manufacturing Cost Details –  Side Panel Assembly (2/2)</vt:lpstr>
      <vt:lpstr>Ford Edge 2009 Manufacturing Cost Details –  Roof Assembly</vt:lpstr>
      <vt:lpstr>Ford Edge, MY 2016</vt:lpstr>
      <vt:lpstr>Ford Edge 2016 Total Mass and Cost Details –  Side Panel Assembly (1/3)</vt:lpstr>
      <vt:lpstr>Ford Edge 2016 Total Mass and Cost Details –  Side Panel Assembly (2/3)</vt:lpstr>
      <vt:lpstr>Ford Edge 2016 Total Mass and Cost Details –  Side Panel Assembly (3/3)</vt:lpstr>
      <vt:lpstr>Ford Edge 2016 Total Mass and Cost Details –  Roof Assembly</vt:lpstr>
      <vt:lpstr>Ford Edge 2016 Manufacturing Cost Details –  Side Panel Assembly (1/3)</vt:lpstr>
      <vt:lpstr>Ford Edge 2016 Manufacturing Cost Details –  Side Panel Assembly (2/3)</vt:lpstr>
      <vt:lpstr>Ford Edge 2016 Manufacturing Cost Details –  Side Panel Assembly (3/3)</vt:lpstr>
      <vt:lpstr>Ford Edge 2016 Manufacturing Cost Details –  Roof Assembly</vt:lpstr>
      <vt:lpstr>Honda Accord, MY 2010</vt:lpstr>
      <vt:lpstr>Honda Accord 2010 Total Mass and Cost Details –  Side Panel Assembly (1/2)</vt:lpstr>
      <vt:lpstr>Honda Accord 2010 Total Mass and Cost Details –  Side Panel Assembly (2/2)</vt:lpstr>
      <vt:lpstr>Honda Accord 2010 Total Mass and Cost Details –  Roof Panel Assembly</vt:lpstr>
      <vt:lpstr>Honda Accord 2010 Manufacturing Cost Details –  Side Panel Assembly (1/2)</vt:lpstr>
      <vt:lpstr>Honda Accord 2010 Manufacturing Cost Details –  Side Panel Assembly (2/2)</vt:lpstr>
      <vt:lpstr>Honda Accord 2010 Manufacturing Cost Details –  Roof Panel Assembly</vt:lpstr>
      <vt:lpstr>Honda Accord, MY 2014</vt:lpstr>
      <vt:lpstr>Honda Accord 2014 Total Mass and Cost Details –  Side Panel Assembly (1/2)</vt:lpstr>
      <vt:lpstr>Honda Accord 2014 Total Mass and Cost Details –  Side Panel Assembly (2/2)</vt:lpstr>
      <vt:lpstr>Honda Accord 2014 Total Mass and Cost Details –  Roof Panel Assembly</vt:lpstr>
      <vt:lpstr>Honda Accord 2014 Manufacturing Cost Details –  Side Panel Assembly (1/2)</vt:lpstr>
      <vt:lpstr>Honda Accord 2014 Manufacturing Cost Details –  Side Panel Assembly (2/2)</vt:lpstr>
      <vt:lpstr>Honda Accord 2014 Manufacturing Cost Details –  Roof Panel Assembly</vt:lpstr>
      <vt:lpstr>Ford Mustang, MY 2006</vt:lpstr>
      <vt:lpstr>Ford Mustang 2006 Total Mass and Cost Details –  Side Panel Assembly</vt:lpstr>
      <vt:lpstr>Ford Mustang 2006 Total Mass and Cost Details –  Roof Panel Assembly</vt:lpstr>
      <vt:lpstr>Ford Mustang 2006 Manufacturing Cost Details –  Side Panel Assembly</vt:lpstr>
      <vt:lpstr>Ford Mustang 2006 Manufacturing Cost Details –  Roof Panel Assembly</vt:lpstr>
      <vt:lpstr>Ford Mustang, MY 2016</vt:lpstr>
      <vt:lpstr>Ford Mustang 2016 Total Mass and Cost Details –  Side Panel Assembly (1/2)</vt:lpstr>
      <vt:lpstr>Ford Mustang 2016 Total Mass and Cost Details –  Side Panel Assembly (2/2)</vt:lpstr>
      <vt:lpstr>Ford Mustang 2016 Total Mass and Cost Details –  Roof Panel Assembly</vt:lpstr>
      <vt:lpstr>Ford Mustang 2016 Manufacturing Cost Details –  Side Panel Assembly (1/2)</vt:lpstr>
      <vt:lpstr>Ford Mustang 2016 Manufacturing Cost Details –  Side Panel Assembly (2/2)</vt:lpstr>
      <vt:lpstr>Ford Mustang 2016 Manufacturing Cost Details –  Roof Panel Assembly</vt:lpstr>
      <vt:lpstr>Grand Cherokee, MY 2008</vt:lpstr>
      <vt:lpstr>Grand Cherokee 2008 Total Mass and Cost Details –  Side Panel Assembly</vt:lpstr>
      <vt:lpstr>Grand Cherokee 2008 Total Mass and Cost Details –  Roof Panel Assembly</vt:lpstr>
      <vt:lpstr>Grand Cherokee 2008 Manufacturing Cost Details –  Side Panel Assembly</vt:lpstr>
      <vt:lpstr>Grand Cherokee 2008 Manufacturing Cost Details –  Roof Panel Assembly</vt:lpstr>
      <vt:lpstr>Grand Cherokee, MY 2011</vt:lpstr>
      <vt:lpstr>Grand Cherokee 2011 Total Mass and Cost Details –  Side Panel Assembly (1/2)</vt:lpstr>
      <vt:lpstr>Grand Cherokee 2011 Total Mass and Cost Details –  Side Panel Assembly (2/2)</vt:lpstr>
      <vt:lpstr>Grand Cherokee 2011 Total Mass and Cost Details –  Roof Panel Assembly</vt:lpstr>
      <vt:lpstr>Grand Cherokee 2011 Manufacturing Cost Details –  Side Panel Assembly (1/2)</vt:lpstr>
      <vt:lpstr>Grand Cherokee 2011 Manufacturing Cost Details –  Side Panel Assembly (2/2)</vt:lpstr>
      <vt:lpstr>Grand Cherokee 2011 Manufacturing Cost Details –  Roof Panel Assembly</vt:lpstr>
      <vt:lpstr>Buick LaCrosse, MY 2005</vt:lpstr>
      <vt:lpstr>Buick LaCrosse 2005 Total Mass and Cost Details –  Side Panel Assembly (1/2)</vt:lpstr>
      <vt:lpstr>Buick LaCrosse 2005 Total Mass and Cost Details –  Side Panel Assembly (2/2)</vt:lpstr>
      <vt:lpstr>Buick LaCrosse 2005 Total Mass and Cost Details –  Roof Panel Assembly</vt:lpstr>
      <vt:lpstr>Buick LaCrosse 2005 Manufacturing Cost Details –  Side Panel Assembly (1/2)</vt:lpstr>
      <vt:lpstr>Buick LaCrosse 2005 Manufacturing Cost Details –  Side Panel Assembly (2/2)</vt:lpstr>
      <vt:lpstr>Buick LaCrosse 2005 Manufacturing Cost Details –  Roof Panel Assembly</vt:lpstr>
      <vt:lpstr>Buick LaCrosse, MY 2010</vt:lpstr>
      <vt:lpstr>Buick LaCrosse 2010 Total Mass and Cost Details –  Side Panel Assembly (1/3)</vt:lpstr>
      <vt:lpstr>Buick LaCrosse 2010 Total Mass and Cost Details –  Side Panel Assembly (2/3)</vt:lpstr>
      <vt:lpstr>Buick LaCrosse 2010 Total Mass and Cost Details –  Side Panel Assembly (3/3)</vt:lpstr>
      <vt:lpstr>Buick LaCrosse 2010 Total Mass and Cost Details –  Roof Panel Assembly</vt:lpstr>
      <vt:lpstr>Buick LaCrosse 2010 Manufacturing Cost Details –  Side Panel Assembly (1/3)</vt:lpstr>
      <vt:lpstr>Buick LaCrosse 2010 Manufacturing Cost Details –  Side Panel Assembly (2/3)</vt:lpstr>
      <vt:lpstr>Buick LaCrosse 2010 Manufacturing Cost Details –  Side Panel Assembly (3/3)</vt:lpstr>
      <vt:lpstr>Buick LaCrosse 2010 Manufacturing Cost Details –  Roof Panel Assembly</vt:lpstr>
      <vt:lpstr>Chevrolet Impala, MY 2003</vt:lpstr>
      <vt:lpstr>Chevrolet Impala 2003 Total Mass and Cost Details –  Side Panel Assembly</vt:lpstr>
      <vt:lpstr>Chevrolet Impala 2003 Total Mass and Cost Details –  Roof Panel Assembly</vt:lpstr>
      <vt:lpstr>Chevrolet Impala 2003 Manufacturing Cost Details –  Side Panel Assembly</vt:lpstr>
      <vt:lpstr>Chevrolet Impala 2003 Manufacturing Cost Details –  Roof Panel Assembly</vt:lpstr>
      <vt:lpstr>Chevrolet Impala, MY 2011</vt:lpstr>
      <vt:lpstr>Chevrolet Impala 2011 Total Mass and Cost Details –  Side Panel Assembly (1/2)</vt:lpstr>
      <vt:lpstr>Chevrolet Impala 2011 Total Mass and Cost Details –  Side Panel Assembly (2/2)</vt:lpstr>
      <vt:lpstr>Chevrolet Impala 2011 Total Mass and Cost Details –  Roof Panel Assembly</vt:lpstr>
      <vt:lpstr>Chevrolet Impala 2011 Manufacturing Cost Details –  Side Panel Assembly (1/2)</vt:lpstr>
      <vt:lpstr>Chevrolet Impala 2011 Manufacturing Cost Details –  Side Panel Assembly (2/2)</vt:lpstr>
      <vt:lpstr>Chevrolet Impala 2011 Manufacturing Cost Details –  Roof Panel Assembly</vt:lpstr>
    </vt:vector>
  </TitlesOfParts>
  <Company>Ricardo Consulting Engine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st and Weight Analysis of FMVSS 301 Fuel System Integrity Rear Impact Test Upgrade</dc:title>
  <dc:creator>Paul Jordan</dc:creator>
  <cp:lastModifiedBy>Florus, Shirley (NHTSA)</cp:lastModifiedBy>
  <cp:revision>1923</cp:revision>
  <cp:lastPrinted>2014-09-09T17:36:24Z</cp:lastPrinted>
  <dcterms:created xsi:type="dcterms:W3CDTF">2003-10-10T10:47:42Z</dcterms:created>
  <dcterms:modified xsi:type="dcterms:W3CDTF">2018-04-02T02:0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eab5000000000001023720</vt:lpwstr>
  </property>
</Properties>
</file>